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98" r:id="rId2"/>
    <p:sldMasterId id="2147483706" r:id="rId3"/>
    <p:sldMasterId id="2147483748" r:id="rId4"/>
  </p:sldMasterIdLst>
  <p:notesMasterIdLst>
    <p:notesMasterId r:id="rId23"/>
  </p:notesMasterIdLst>
  <p:sldIdLst>
    <p:sldId id="326" r:id="rId5"/>
    <p:sldId id="2147472158" r:id="rId6"/>
    <p:sldId id="2147472218" r:id="rId7"/>
    <p:sldId id="2147472185" r:id="rId8"/>
    <p:sldId id="2147472212" r:id="rId9"/>
    <p:sldId id="2147472214" r:id="rId10"/>
    <p:sldId id="2147472213" r:id="rId11"/>
    <p:sldId id="2147472215" r:id="rId12"/>
    <p:sldId id="2147472216" r:id="rId13"/>
    <p:sldId id="2147472171" r:id="rId14"/>
    <p:sldId id="2147472187" r:id="rId15"/>
    <p:sldId id="2147472217" r:id="rId16"/>
    <p:sldId id="2147472166" r:id="rId17"/>
    <p:sldId id="2147472219" r:id="rId18"/>
    <p:sldId id="2147472220" r:id="rId19"/>
    <p:sldId id="2147472221" r:id="rId20"/>
    <p:sldId id="2147472156" r:id="rId21"/>
    <p:sldId id="2147472140" r:id="rId22"/>
  </p:sldIdLst>
  <p:sldSz cx="12192000" cy="6858000"/>
  <p:notesSz cx="6797675" cy="9926638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238A322-DB33-9DDE-14EC-21A2034325DD}" name="Giulia Coldebella" initials="GC" userId="S::Giulia.Coldebella@BDRTG.NET::095d193e-2564-4ce2-8fe7-eb96053ad99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5B99"/>
    <a:srgbClr val="FFFFFF"/>
    <a:srgbClr val="3CB27F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6357" autoAdjust="0"/>
  </p:normalViewPr>
  <p:slideViewPr>
    <p:cSldViewPr snapToGrid="0">
      <p:cViewPr varScale="1">
        <p:scale>
          <a:sx n="62" d="100"/>
          <a:sy n="62" d="100"/>
        </p:scale>
        <p:origin x="828" y="5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FDE52A-A9E8-4714-AF4C-BAC54D16DDFA}" type="datetimeFigureOut">
              <a:rPr lang="it-IT" smtClean="0"/>
              <a:t>01/12/2022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1A0FA2-B23E-4301-B3E6-E6BF3FE6CCB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060364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41A0FA2-B23E-4301-B3E6-E6BF3FE6CCB1}" type="slidenum">
              <a:rPr lang="it-IT" smtClean="0"/>
              <a:t>1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669599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Relationship Id="rId4" Type="http://schemas.openxmlformats.org/officeDocument/2006/relationships/image" Target="../media/image16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7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3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5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6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7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8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7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7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5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8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9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0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7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8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1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7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6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2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7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19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3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4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20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5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20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6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20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7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8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9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0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1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2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3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4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5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6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7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8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9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0.bin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oleObject" Target="../embeddings/oleObject31.bin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0.xml"/><Relationship Id="rId6" Type="http://schemas.openxmlformats.org/officeDocument/2006/relationships/image" Target="../media/image21.svg"/><Relationship Id="rId5" Type="http://schemas.openxmlformats.org/officeDocument/2006/relationships/image" Target="../media/image7.png"/><Relationship Id="rId4" Type="http://schemas.openxmlformats.org/officeDocument/2006/relationships/image" Target="../media/image16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23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2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23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3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3.png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image" Target="../media/image24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4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3.png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25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5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3.png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19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6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1.xml"/><Relationship Id="rId4" Type="http://schemas.openxmlformats.org/officeDocument/2006/relationships/image" Target="../media/image26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9.png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28.wmf"/><Relationship Id="rId5" Type="http://schemas.openxmlformats.org/officeDocument/2006/relationships/image" Target="../media/image27.emf"/><Relationship Id="rId4" Type="http://schemas.openxmlformats.org/officeDocument/2006/relationships/oleObject" Target="../embeddings/oleObject3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4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15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5" Type="http://schemas.openxmlformats.org/officeDocument/2006/relationships/image" Target="../media/image32.emf"/><Relationship Id="rId4" Type="http://schemas.openxmlformats.org/officeDocument/2006/relationships/oleObject" Target="../embeddings/oleObject40.bin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en-GB" smtClean="0"/>
              <a:t>‹N›</a:t>
            </a:fld>
            <a:endParaRPr lang="en-GB"/>
          </a:p>
        </p:txBody>
      </p:sp>
      <p:grpSp>
        <p:nvGrpSpPr>
          <p:cNvPr id="10" name="Graphic 8">
            <a:extLst>
              <a:ext uri="{FF2B5EF4-FFF2-40B4-BE49-F238E27FC236}">
                <a16:creationId xmlns:a16="http://schemas.microsoft.com/office/drawing/2014/main" id="{3754EC63-49CB-497E-A600-73C31E9819F9}"/>
              </a:ext>
            </a:extLst>
          </p:cNvPr>
          <p:cNvGrpSpPr/>
          <p:nvPr/>
        </p:nvGrpSpPr>
        <p:grpSpPr>
          <a:xfrm>
            <a:off x="3260177" y="3218290"/>
            <a:ext cx="5667783" cy="415628"/>
            <a:chOff x="3260176" y="3218289"/>
            <a:chExt cx="5667782" cy="415628"/>
          </a:xfrm>
          <a:solidFill>
            <a:srgbClr val="231B37"/>
          </a:solidFill>
        </p:grpSpPr>
        <p:sp>
          <p:nvSpPr>
            <p:cNvPr id="11" name="Vrije vorm: vorm 10">
              <a:extLst>
                <a:ext uri="{FF2B5EF4-FFF2-40B4-BE49-F238E27FC236}">
                  <a16:creationId xmlns:a16="http://schemas.microsoft.com/office/drawing/2014/main" id="{C4DEEFE2-B496-4C16-98D5-E7488E5FD3BE}"/>
                </a:ext>
              </a:extLst>
            </p:cNvPr>
            <p:cNvSpPr/>
            <p:nvPr/>
          </p:nvSpPr>
          <p:spPr>
            <a:xfrm>
              <a:off x="3260176" y="3220747"/>
              <a:ext cx="290254" cy="405970"/>
            </a:xfrm>
            <a:custGeom>
              <a:avLst/>
              <a:gdLst>
                <a:gd name="connsiteX0" fmla="*/ 214223 w 290254"/>
                <a:gd name="connsiteY0" fmla="*/ 190518 h 405970"/>
                <a:gd name="connsiteX1" fmla="*/ 214223 w 290254"/>
                <a:gd name="connsiteY1" fmla="*/ 188060 h 405970"/>
                <a:gd name="connsiteX2" fmla="*/ 269535 w 290254"/>
                <a:gd name="connsiteY2" fmla="*/ 99912 h 405970"/>
                <a:gd name="connsiteX3" fmla="*/ 127129 w 290254"/>
                <a:gd name="connsiteY3" fmla="*/ 0 h 405970"/>
                <a:gd name="connsiteX4" fmla="*/ 0 w 290254"/>
                <a:gd name="connsiteY4" fmla="*/ 0 h 405970"/>
                <a:gd name="connsiteX5" fmla="*/ 0 w 290254"/>
                <a:gd name="connsiteY5" fmla="*/ 405971 h 405970"/>
                <a:gd name="connsiteX6" fmla="*/ 137489 w 290254"/>
                <a:gd name="connsiteY6" fmla="*/ 405971 h 405970"/>
                <a:gd name="connsiteX7" fmla="*/ 290255 w 290254"/>
                <a:gd name="connsiteY7" fmla="*/ 286743 h 405970"/>
                <a:gd name="connsiteX8" fmla="*/ 214223 w 290254"/>
                <a:gd name="connsiteY8" fmla="*/ 190518 h 405970"/>
                <a:gd name="connsiteX9" fmla="*/ 70588 w 290254"/>
                <a:gd name="connsiteY9" fmla="*/ 55839 h 405970"/>
                <a:gd name="connsiteX10" fmla="*/ 122388 w 290254"/>
                <a:gd name="connsiteY10" fmla="*/ 55839 h 405970"/>
                <a:gd name="connsiteX11" fmla="*/ 200351 w 290254"/>
                <a:gd name="connsiteY11" fmla="*/ 110448 h 405970"/>
                <a:gd name="connsiteX12" fmla="*/ 121335 w 290254"/>
                <a:gd name="connsiteY12" fmla="*/ 167516 h 405970"/>
                <a:gd name="connsiteX13" fmla="*/ 70588 w 290254"/>
                <a:gd name="connsiteY13" fmla="*/ 167516 h 405970"/>
                <a:gd name="connsiteX14" fmla="*/ 70588 w 290254"/>
                <a:gd name="connsiteY14" fmla="*/ 55839 h 405970"/>
                <a:gd name="connsiteX15" fmla="*/ 130290 w 290254"/>
                <a:gd name="connsiteY15" fmla="*/ 349957 h 405970"/>
                <a:gd name="connsiteX16" fmla="*/ 70588 w 290254"/>
                <a:gd name="connsiteY16" fmla="*/ 349957 h 405970"/>
                <a:gd name="connsiteX17" fmla="*/ 70588 w 290254"/>
                <a:gd name="connsiteY17" fmla="*/ 221423 h 405970"/>
                <a:gd name="connsiteX18" fmla="*/ 130290 w 290254"/>
                <a:gd name="connsiteY18" fmla="*/ 221423 h 405970"/>
                <a:gd name="connsiteX19" fmla="*/ 221598 w 290254"/>
                <a:gd name="connsiteY19" fmla="*/ 282880 h 405970"/>
                <a:gd name="connsiteX20" fmla="*/ 130290 w 290254"/>
                <a:gd name="connsiteY20" fmla="*/ 349957 h 405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0254" h="405970">
                  <a:moveTo>
                    <a:pt x="214223" y="190518"/>
                  </a:moveTo>
                  <a:lnTo>
                    <a:pt x="214223" y="188060"/>
                  </a:lnTo>
                  <a:cubicBezTo>
                    <a:pt x="248991" y="175593"/>
                    <a:pt x="269535" y="138367"/>
                    <a:pt x="269535" y="99912"/>
                  </a:cubicBezTo>
                  <a:cubicBezTo>
                    <a:pt x="269535" y="25461"/>
                    <a:pt x="209307" y="0"/>
                    <a:pt x="127129" y="0"/>
                  </a:cubicBezTo>
                  <a:lnTo>
                    <a:pt x="0" y="0"/>
                  </a:lnTo>
                  <a:lnTo>
                    <a:pt x="0" y="405971"/>
                  </a:lnTo>
                  <a:lnTo>
                    <a:pt x="137489" y="405971"/>
                  </a:lnTo>
                  <a:cubicBezTo>
                    <a:pt x="225110" y="405971"/>
                    <a:pt x="290255" y="368043"/>
                    <a:pt x="290255" y="286743"/>
                  </a:cubicBezTo>
                  <a:cubicBezTo>
                    <a:pt x="290255" y="232134"/>
                    <a:pt x="257946" y="200352"/>
                    <a:pt x="214223" y="190518"/>
                  </a:cubicBezTo>
                  <a:close/>
                  <a:moveTo>
                    <a:pt x="70588" y="55839"/>
                  </a:moveTo>
                  <a:lnTo>
                    <a:pt x="122388" y="55839"/>
                  </a:lnTo>
                  <a:cubicBezTo>
                    <a:pt x="174188" y="55839"/>
                    <a:pt x="200351" y="70764"/>
                    <a:pt x="200351" y="110448"/>
                  </a:cubicBezTo>
                  <a:cubicBezTo>
                    <a:pt x="200351" y="145215"/>
                    <a:pt x="176646" y="167516"/>
                    <a:pt x="121335" y="167516"/>
                  </a:cubicBezTo>
                  <a:lnTo>
                    <a:pt x="70588" y="167516"/>
                  </a:lnTo>
                  <a:lnTo>
                    <a:pt x="70588" y="55839"/>
                  </a:lnTo>
                  <a:close/>
                  <a:moveTo>
                    <a:pt x="130290" y="349957"/>
                  </a:moveTo>
                  <a:lnTo>
                    <a:pt x="70588" y="349957"/>
                  </a:lnTo>
                  <a:lnTo>
                    <a:pt x="70588" y="221423"/>
                  </a:lnTo>
                  <a:lnTo>
                    <a:pt x="130290" y="221423"/>
                  </a:lnTo>
                  <a:cubicBezTo>
                    <a:pt x="189991" y="221423"/>
                    <a:pt x="221598" y="240036"/>
                    <a:pt x="221598" y="282880"/>
                  </a:cubicBezTo>
                  <a:cubicBezTo>
                    <a:pt x="221422" y="328359"/>
                    <a:pt x="188587" y="349957"/>
                    <a:pt x="130290" y="349957"/>
                  </a:cubicBezTo>
                  <a:close/>
                </a:path>
              </a:pathLst>
            </a:custGeom>
            <a:solidFill>
              <a:srgbClr val="231B37"/>
            </a:solidFill>
            <a:ln w="17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2" name="Vrije vorm: vorm 11">
              <a:extLst>
                <a:ext uri="{FF2B5EF4-FFF2-40B4-BE49-F238E27FC236}">
                  <a16:creationId xmlns:a16="http://schemas.microsoft.com/office/drawing/2014/main" id="{C428C495-BB61-4B18-B4B9-E3B7F60D94B6}"/>
                </a:ext>
              </a:extLst>
            </p:cNvPr>
            <p:cNvSpPr/>
            <p:nvPr/>
          </p:nvSpPr>
          <p:spPr>
            <a:xfrm>
              <a:off x="3629623" y="3220571"/>
              <a:ext cx="299912" cy="405970"/>
            </a:xfrm>
            <a:custGeom>
              <a:avLst/>
              <a:gdLst>
                <a:gd name="connsiteX0" fmla="*/ 106409 w 299912"/>
                <a:gd name="connsiteY0" fmla="*/ 0 h 405970"/>
                <a:gd name="connsiteX1" fmla="*/ 0 w 299912"/>
                <a:gd name="connsiteY1" fmla="*/ 0 h 405970"/>
                <a:gd name="connsiteX2" fmla="*/ 0 w 299912"/>
                <a:gd name="connsiteY2" fmla="*/ 405971 h 405970"/>
                <a:gd name="connsiteX3" fmla="*/ 110097 w 299912"/>
                <a:gd name="connsiteY3" fmla="*/ 405971 h 405970"/>
                <a:gd name="connsiteX4" fmla="*/ 299912 w 299912"/>
                <a:gd name="connsiteY4" fmla="*/ 201054 h 405970"/>
                <a:gd name="connsiteX5" fmla="*/ 106409 w 299912"/>
                <a:gd name="connsiteY5" fmla="*/ 0 h 405970"/>
                <a:gd name="connsiteX6" fmla="*/ 101493 w 299912"/>
                <a:gd name="connsiteY6" fmla="*/ 347674 h 405970"/>
                <a:gd name="connsiteX7" fmla="*/ 70413 w 299912"/>
                <a:gd name="connsiteY7" fmla="*/ 347674 h 405970"/>
                <a:gd name="connsiteX8" fmla="*/ 70413 w 299912"/>
                <a:gd name="connsiteY8" fmla="*/ 58472 h 405970"/>
                <a:gd name="connsiteX9" fmla="*/ 101493 w 299912"/>
                <a:gd name="connsiteY9" fmla="*/ 58472 h 405970"/>
                <a:gd name="connsiteX10" fmla="*/ 227393 w 299912"/>
                <a:gd name="connsiteY10" fmla="*/ 201229 h 405970"/>
                <a:gd name="connsiteX11" fmla="*/ 101493 w 299912"/>
                <a:gd name="connsiteY11" fmla="*/ 347674 h 405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9912" h="405970">
                  <a:moveTo>
                    <a:pt x="106409" y="0"/>
                  </a:moveTo>
                  <a:lnTo>
                    <a:pt x="0" y="0"/>
                  </a:lnTo>
                  <a:lnTo>
                    <a:pt x="0" y="405971"/>
                  </a:lnTo>
                  <a:lnTo>
                    <a:pt x="110097" y="405971"/>
                  </a:lnTo>
                  <a:cubicBezTo>
                    <a:pt x="228095" y="405971"/>
                    <a:pt x="299912" y="335734"/>
                    <a:pt x="299912" y="201054"/>
                  </a:cubicBezTo>
                  <a:cubicBezTo>
                    <a:pt x="299912" y="67076"/>
                    <a:pt x="228095" y="0"/>
                    <a:pt x="106409" y="0"/>
                  </a:cubicBezTo>
                  <a:close/>
                  <a:moveTo>
                    <a:pt x="101493" y="347674"/>
                  </a:moveTo>
                  <a:lnTo>
                    <a:pt x="70413" y="347674"/>
                  </a:lnTo>
                  <a:lnTo>
                    <a:pt x="70413" y="58472"/>
                  </a:lnTo>
                  <a:lnTo>
                    <a:pt x="101493" y="58472"/>
                  </a:lnTo>
                  <a:cubicBezTo>
                    <a:pt x="181738" y="58472"/>
                    <a:pt x="227393" y="101844"/>
                    <a:pt x="227393" y="201229"/>
                  </a:cubicBezTo>
                  <a:cubicBezTo>
                    <a:pt x="227568" y="301142"/>
                    <a:pt x="181914" y="347674"/>
                    <a:pt x="101493" y="347674"/>
                  </a:cubicBezTo>
                  <a:close/>
                </a:path>
              </a:pathLst>
            </a:custGeom>
            <a:solidFill>
              <a:srgbClr val="231B37"/>
            </a:solidFill>
            <a:ln w="17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3" name="Vrije vorm: vorm 12">
              <a:extLst>
                <a:ext uri="{FF2B5EF4-FFF2-40B4-BE49-F238E27FC236}">
                  <a16:creationId xmlns:a16="http://schemas.microsoft.com/office/drawing/2014/main" id="{F6E45D3D-22FB-47C8-BA2E-6A15D008D134}"/>
                </a:ext>
              </a:extLst>
            </p:cNvPr>
            <p:cNvSpPr/>
            <p:nvPr/>
          </p:nvSpPr>
          <p:spPr>
            <a:xfrm>
              <a:off x="4015400" y="3220571"/>
              <a:ext cx="296400" cy="405970"/>
            </a:xfrm>
            <a:custGeom>
              <a:avLst/>
              <a:gdLst>
                <a:gd name="connsiteX0" fmla="*/ 280597 w 296400"/>
                <a:gd name="connsiteY0" fmla="*/ 120457 h 405970"/>
                <a:gd name="connsiteX1" fmla="*/ 134504 w 296400"/>
                <a:gd name="connsiteY1" fmla="*/ 0 h 405970"/>
                <a:gd name="connsiteX2" fmla="*/ 0 w 296400"/>
                <a:gd name="connsiteY2" fmla="*/ 0 h 405970"/>
                <a:gd name="connsiteX3" fmla="*/ 0 w 296400"/>
                <a:gd name="connsiteY3" fmla="*/ 405971 h 405970"/>
                <a:gd name="connsiteX4" fmla="*/ 70588 w 296400"/>
                <a:gd name="connsiteY4" fmla="*/ 405971 h 405970"/>
                <a:gd name="connsiteX5" fmla="*/ 70588 w 296400"/>
                <a:gd name="connsiteY5" fmla="*/ 247059 h 405970"/>
                <a:gd name="connsiteX6" fmla="*/ 131519 w 296400"/>
                <a:gd name="connsiteY6" fmla="*/ 247059 h 405970"/>
                <a:gd name="connsiteX7" fmla="*/ 217384 w 296400"/>
                <a:gd name="connsiteY7" fmla="*/ 405971 h 405970"/>
                <a:gd name="connsiteX8" fmla="*/ 296401 w 296400"/>
                <a:gd name="connsiteY8" fmla="*/ 405971 h 405970"/>
                <a:gd name="connsiteX9" fmla="*/ 201405 w 296400"/>
                <a:gd name="connsiteY9" fmla="*/ 236524 h 405970"/>
                <a:gd name="connsiteX10" fmla="*/ 280597 w 296400"/>
                <a:gd name="connsiteY10" fmla="*/ 120457 h 405970"/>
                <a:gd name="connsiteX11" fmla="*/ 127129 w 296400"/>
                <a:gd name="connsiteY11" fmla="*/ 189992 h 405970"/>
                <a:gd name="connsiteX12" fmla="*/ 70588 w 296400"/>
                <a:gd name="connsiteY12" fmla="*/ 189992 h 405970"/>
                <a:gd name="connsiteX13" fmla="*/ 70588 w 296400"/>
                <a:gd name="connsiteY13" fmla="*/ 57770 h 405970"/>
                <a:gd name="connsiteX14" fmla="*/ 127129 w 296400"/>
                <a:gd name="connsiteY14" fmla="*/ 57770 h 405970"/>
                <a:gd name="connsiteX15" fmla="*/ 211063 w 296400"/>
                <a:gd name="connsiteY15" fmla="*/ 120457 h 405970"/>
                <a:gd name="connsiteX16" fmla="*/ 127129 w 296400"/>
                <a:gd name="connsiteY16" fmla="*/ 189992 h 405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6400" h="405970">
                  <a:moveTo>
                    <a:pt x="280597" y="120457"/>
                  </a:moveTo>
                  <a:cubicBezTo>
                    <a:pt x="280597" y="29851"/>
                    <a:pt x="217384" y="0"/>
                    <a:pt x="134504" y="0"/>
                  </a:cubicBezTo>
                  <a:lnTo>
                    <a:pt x="0" y="0"/>
                  </a:lnTo>
                  <a:lnTo>
                    <a:pt x="0" y="405971"/>
                  </a:lnTo>
                  <a:lnTo>
                    <a:pt x="70588" y="405971"/>
                  </a:lnTo>
                  <a:lnTo>
                    <a:pt x="70588" y="247059"/>
                  </a:lnTo>
                  <a:lnTo>
                    <a:pt x="131519" y="247059"/>
                  </a:lnTo>
                  <a:lnTo>
                    <a:pt x="217384" y="405971"/>
                  </a:lnTo>
                  <a:lnTo>
                    <a:pt x="296401" y="405971"/>
                  </a:lnTo>
                  <a:lnTo>
                    <a:pt x="201405" y="236524"/>
                  </a:lnTo>
                  <a:cubicBezTo>
                    <a:pt x="248815" y="219842"/>
                    <a:pt x="280597" y="182617"/>
                    <a:pt x="280597" y="120457"/>
                  </a:cubicBezTo>
                  <a:close/>
                  <a:moveTo>
                    <a:pt x="127129" y="189992"/>
                  </a:moveTo>
                  <a:lnTo>
                    <a:pt x="70588" y="189992"/>
                  </a:lnTo>
                  <a:lnTo>
                    <a:pt x="70588" y="57770"/>
                  </a:lnTo>
                  <a:lnTo>
                    <a:pt x="127129" y="57770"/>
                  </a:lnTo>
                  <a:cubicBezTo>
                    <a:pt x="181212" y="57770"/>
                    <a:pt x="211063" y="73925"/>
                    <a:pt x="211063" y="120457"/>
                  </a:cubicBezTo>
                  <a:cubicBezTo>
                    <a:pt x="211238" y="166462"/>
                    <a:pt x="181387" y="189992"/>
                    <a:pt x="127129" y="189992"/>
                  </a:cubicBezTo>
                  <a:close/>
                </a:path>
              </a:pathLst>
            </a:custGeom>
            <a:solidFill>
              <a:srgbClr val="231B37"/>
            </a:solidFill>
            <a:ln w="17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4" name="Vrije vorm: vorm 13">
              <a:extLst>
                <a:ext uri="{FF2B5EF4-FFF2-40B4-BE49-F238E27FC236}">
                  <a16:creationId xmlns:a16="http://schemas.microsoft.com/office/drawing/2014/main" id="{C8B70439-1701-43E9-A65B-7DA20A917031}"/>
                </a:ext>
              </a:extLst>
            </p:cNvPr>
            <p:cNvSpPr/>
            <p:nvPr/>
          </p:nvSpPr>
          <p:spPr>
            <a:xfrm>
              <a:off x="4434189" y="3220571"/>
              <a:ext cx="300614" cy="406146"/>
            </a:xfrm>
            <a:custGeom>
              <a:avLst/>
              <a:gdLst>
                <a:gd name="connsiteX0" fmla="*/ 0 w 300614"/>
                <a:gd name="connsiteY0" fmla="*/ 60931 h 406146"/>
                <a:gd name="connsiteX1" fmla="*/ 115013 w 300614"/>
                <a:gd name="connsiteY1" fmla="*/ 60931 h 406146"/>
                <a:gd name="connsiteX2" fmla="*/ 115013 w 300614"/>
                <a:gd name="connsiteY2" fmla="*/ 406146 h 406146"/>
                <a:gd name="connsiteX3" fmla="*/ 185602 w 300614"/>
                <a:gd name="connsiteY3" fmla="*/ 406146 h 406146"/>
                <a:gd name="connsiteX4" fmla="*/ 185602 w 300614"/>
                <a:gd name="connsiteY4" fmla="*/ 60931 h 406146"/>
                <a:gd name="connsiteX5" fmla="*/ 300615 w 300614"/>
                <a:gd name="connsiteY5" fmla="*/ 60931 h 406146"/>
                <a:gd name="connsiteX6" fmla="*/ 300615 w 300614"/>
                <a:gd name="connsiteY6" fmla="*/ 0 h 406146"/>
                <a:gd name="connsiteX7" fmla="*/ 0 w 300614"/>
                <a:gd name="connsiteY7" fmla="*/ 0 h 406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0614" h="406146">
                  <a:moveTo>
                    <a:pt x="0" y="60931"/>
                  </a:moveTo>
                  <a:lnTo>
                    <a:pt x="115013" y="60931"/>
                  </a:lnTo>
                  <a:lnTo>
                    <a:pt x="115013" y="406146"/>
                  </a:lnTo>
                  <a:lnTo>
                    <a:pt x="185602" y="406146"/>
                  </a:lnTo>
                  <a:lnTo>
                    <a:pt x="185602" y="60931"/>
                  </a:lnTo>
                  <a:lnTo>
                    <a:pt x="300615" y="60931"/>
                  </a:lnTo>
                  <a:lnTo>
                    <a:pt x="3006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31B37"/>
            </a:solidFill>
            <a:ln w="17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5" name="Vrije vorm: vorm 14">
              <a:extLst>
                <a:ext uri="{FF2B5EF4-FFF2-40B4-BE49-F238E27FC236}">
                  <a16:creationId xmlns:a16="http://schemas.microsoft.com/office/drawing/2014/main" id="{161DF0D6-F610-4CE4-B5B5-11208C96D34F}"/>
                </a:ext>
              </a:extLst>
            </p:cNvPr>
            <p:cNvSpPr/>
            <p:nvPr/>
          </p:nvSpPr>
          <p:spPr>
            <a:xfrm>
              <a:off x="4807148" y="3220571"/>
              <a:ext cx="302370" cy="406146"/>
            </a:xfrm>
            <a:custGeom>
              <a:avLst/>
              <a:gdLst>
                <a:gd name="connsiteX0" fmla="*/ 231783 w 302370"/>
                <a:gd name="connsiteY0" fmla="*/ 163301 h 406146"/>
                <a:gd name="connsiteX1" fmla="*/ 70588 w 302370"/>
                <a:gd name="connsiteY1" fmla="*/ 163301 h 406146"/>
                <a:gd name="connsiteX2" fmla="*/ 70588 w 302370"/>
                <a:gd name="connsiteY2" fmla="*/ 0 h 406146"/>
                <a:gd name="connsiteX3" fmla="*/ 0 w 302370"/>
                <a:gd name="connsiteY3" fmla="*/ 0 h 406146"/>
                <a:gd name="connsiteX4" fmla="*/ 0 w 302370"/>
                <a:gd name="connsiteY4" fmla="*/ 406146 h 406146"/>
                <a:gd name="connsiteX5" fmla="*/ 70588 w 302370"/>
                <a:gd name="connsiteY5" fmla="*/ 406146 h 406146"/>
                <a:gd name="connsiteX6" fmla="*/ 70588 w 302370"/>
                <a:gd name="connsiteY6" fmla="*/ 225988 h 406146"/>
                <a:gd name="connsiteX7" fmla="*/ 231783 w 302370"/>
                <a:gd name="connsiteY7" fmla="*/ 225988 h 406146"/>
                <a:gd name="connsiteX8" fmla="*/ 231783 w 302370"/>
                <a:gd name="connsiteY8" fmla="*/ 406146 h 406146"/>
                <a:gd name="connsiteX9" fmla="*/ 302371 w 302370"/>
                <a:gd name="connsiteY9" fmla="*/ 406146 h 406146"/>
                <a:gd name="connsiteX10" fmla="*/ 302371 w 302370"/>
                <a:gd name="connsiteY10" fmla="*/ 0 h 406146"/>
                <a:gd name="connsiteX11" fmla="*/ 231783 w 302370"/>
                <a:gd name="connsiteY11" fmla="*/ 0 h 406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2370" h="406146">
                  <a:moveTo>
                    <a:pt x="231783" y="163301"/>
                  </a:moveTo>
                  <a:lnTo>
                    <a:pt x="70588" y="163301"/>
                  </a:lnTo>
                  <a:lnTo>
                    <a:pt x="70588" y="0"/>
                  </a:lnTo>
                  <a:lnTo>
                    <a:pt x="0" y="0"/>
                  </a:lnTo>
                  <a:lnTo>
                    <a:pt x="0" y="406146"/>
                  </a:lnTo>
                  <a:lnTo>
                    <a:pt x="70588" y="406146"/>
                  </a:lnTo>
                  <a:lnTo>
                    <a:pt x="70588" y="225988"/>
                  </a:lnTo>
                  <a:lnTo>
                    <a:pt x="231783" y="225988"/>
                  </a:lnTo>
                  <a:lnTo>
                    <a:pt x="231783" y="406146"/>
                  </a:lnTo>
                  <a:lnTo>
                    <a:pt x="302371" y="406146"/>
                  </a:lnTo>
                  <a:lnTo>
                    <a:pt x="302371" y="0"/>
                  </a:lnTo>
                  <a:lnTo>
                    <a:pt x="231783" y="0"/>
                  </a:lnTo>
                  <a:close/>
                </a:path>
              </a:pathLst>
            </a:custGeom>
            <a:solidFill>
              <a:srgbClr val="231B37"/>
            </a:solidFill>
            <a:ln w="17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6" name="Vrije vorm: vorm 15">
              <a:extLst>
                <a:ext uri="{FF2B5EF4-FFF2-40B4-BE49-F238E27FC236}">
                  <a16:creationId xmlns:a16="http://schemas.microsoft.com/office/drawing/2014/main" id="{DCAE00D0-43D7-4B0D-92E0-55CB9B482BCA}"/>
                </a:ext>
              </a:extLst>
            </p:cNvPr>
            <p:cNvSpPr/>
            <p:nvPr/>
          </p:nvSpPr>
          <p:spPr>
            <a:xfrm>
              <a:off x="5216806" y="3220571"/>
              <a:ext cx="245829" cy="406146"/>
            </a:xfrm>
            <a:custGeom>
              <a:avLst/>
              <a:gdLst>
                <a:gd name="connsiteX0" fmla="*/ 70588 w 245829"/>
                <a:gd name="connsiteY0" fmla="*/ 225461 h 406146"/>
                <a:gd name="connsiteX1" fmla="*/ 213521 w 245829"/>
                <a:gd name="connsiteY1" fmla="*/ 225461 h 406146"/>
                <a:gd name="connsiteX2" fmla="*/ 213521 w 245829"/>
                <a:gd name="connsiteY2" fmla="*/ 164531 h 406146"/>
                <a:gd name="connsiteX3" fmla="*/ 70588 w 245829"/>
                <a:gd name="connsiteY3" fmla="*/ 164531 h 406146"/>
                <a:gd name="connsiteX4" fmla="*/ 70588 w 245829"/>
                <a:gd name="connsiteY4" fmla="*/ 60931 h 406146"/>
                <a:gd name="connsiteX5" fmla="*/ 239684 w 245829"/>
                <a:gd name="connsiteY5" fmla="*/ 60931 h 406146"/>
                <a:gd name="connsiteX6" fmla="*/ 239684 w 245829"/>
                <a:gd name="connsiteY6" fmla="*/ 0 h 406146"/>
                <a:gd name="connsiteX7" fmla="*/ 0 w 245829"/>
                <a:gd name="connsiteY7" fmla="*/ 0 h 406146"/>
                <a:gd name="connsiteX8" fmla="*/ 0 w 245829"/>
                <a:gd name="connsiteY8" fmla="*/ 406146 h 406146"/>
                <a:gd name="connsiteX9" fmla="*/ 245830 w 245829"/>
                <a:gd name="connsiteY9" fmla="*/ 406146 h 406146"/>
                <a:gd name="connsiteX10" fmla="*/ 245830 w 245829"/>
                <a:gd name="connsiteY10" fmla="*/ 345216 h 406146"/>
                <a:gd name="connsiteX11" fmla="*/ 70588 w 245829"/>
                <a:gd name="connsiteY11" fmla="*/ 345216 h 406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5829" h="406146">
                  <a:moveTo>
                    <a:pt x="70588" y="225461"/>
                  </a:moveTo>
                  <a:lnTo>
                    <a:pt x="213521" y="225461"/>
                  </a:lnTo>
                  <a:lnTo>
                    <a:pt x="213521" y="164531"/>
                  </a:lnTo>
                  <a:lnTo>
                    <a:pt x="70588" y="164531"/>
                  </a:lnTo>
                  <a:lnTo>
                    <a:pt x="70588" y="60931"/>
                  </a:lnTo>
                  <a:lnTo>
                    <a:pt x="239684" y="60931"/>
                  </a:lnTo>
                  <a:lnTo>
                    <a:pt x="239684" y="0"/>
                  </a:lnTo>
                  <a:lnTo>
                    <a:pt x="0" y="0"/>
                  </a:lnTo>
                  <a:lnTo>
                    <a:pt x="0" y="406146"/>
                  </a:lnTo>
                  <a:lnTo>
                    <a:pt x="245830" y="406146"/>
                  </a:lnTo>
                  <a:lnTo>
                    <a:pt x="245830" y="345216"/>
                  </a:lnTo>
                  <a:lnTo>
                    <a:pt x="70588" y="345216"/>
                  </a:lnTo>
                  <a:close/>
                </a:path>
              </a:pathLst>
            </a:custGeom>
            <a:solidFill>
              <a:srgbClr val="231B37"/>
            </a:solidFill>
            <a:ln w="17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7" name="Vrije vorm: vorm 16">
              <a:extLst>
                <a:ext uri="{FF2B5EF4-FFF2-40B4-BE49-F238E27FC236}">
                  <a16:creationId xmlns:a16="http://schemas.microsoft.com/office/drawing/2014/main" id="{F79C827D-F859-4E32-8030-60236333F1E8}"/>
                </a:ext>
              </a:extLst>
            </p:cNvPr>
            <p:cNvSpPr/>
            <p:nvPr/>
          </p:nvSpPr>
          <p:spPr>
            <a:xfrm>
              <a:off x="5549554" y="3220571"/>
              <a:ext cx="296400" cy="405970"/>
            </a:xfrm>
            <a:custGeom>
              <a:avLst/>
              <a:gdLst>
                <a:gd name="connsiteX0" fmla="*/ 280597 w 296400"/>
                <a:gd name="connsiteY0" fmla="*/ 120457 h 405970"/>
                <a:gd name="connsiteX1" fmla="*/ 134504 w 296400"/>
                <a:gd name="connsiteY1" fmla="*/ 0 h 405970"/>
                <a:gd name="connsiteX2" fmla="*/ 0 w 296400"/>
                <a:gd name="connsiteY2" fmla="*/ 0 h 405970"/>
                <a:gd name="connsiteX3" fmla="*/ 0 w 296400"/>
                <a:gd name="connsiteY3" fmla="*/ 405971 h 405970"/>
                <a:gd name="connsiteX4" fmla="*/ 70588 w 296400"/>
                <a:gd name="connsiteY4" fmla="*/ 405971 h 405970"/>
                <a:gd name="connsiteX5" fmla="*/ 70588 w 296400"/>
                <a:gd name="connsiteY5" fmla="*/ 247059 h 405970"/>
                <a:gd name="connsiteX6" fmla="*/ 131519 w 296400"/>
                <a:gd name="connsiteY6" fmla="*/ 247059 h 405970"/>
                <a:gd name="connsiteX7" fmla="*/ 217384 w 296400"/>
                <a:gd name="connsiteY7" fmla="*/ 405971 h 405970"/>
                <a:gd name="connsiteX8" fmla="*/ 296400 w 296400"/>
                <a:gd name="connsiteY8" fmla="*/ 405971 h 405970"/>
                <a:gd name="connsiteX9" fmla="*/ 201405 w 296400"/>
                <a:gd name="connsiteY9" fmla="*/ 236524 h 405970"/>
                <a:gd name="connsiteX10" fmla="*/ 280597 w 296400"/>
                <a:gd name="connsiteY10" fmla="*/ 120457 h 405970"/>
                <a:gd name="connsiteX11" fmla="*/ 127305 w 296400"/>
                <a:gd name="connsiteY11" fmla="*/ 189992 h 405970"/>
                <a:gd name="connsiteX12" fmla="*/ 70764 w 296400"/>
                <a:gd name="connsiteY12" fmla="*/ 189992 h 405970"/>
                <a:gd name="connsiteX13" fmla="*/ 70764 w 296400"/>
                <a:gd name="connsiteY13" fmla="*/ 57770 h 405970"/>
                <a:gd name="connsiteX14" fmla="*/ 127305 w 296400"/>
                <a:gd name="connsiteY14" fmla="*/ 57770 h 405970"/>
                <a:gd name="connsiteX15" fmla="*/ 211238 w 296400"/>
                <a:gd name="connsiteY15" fmla="*/ 120457 h 405970"/>
                <a:gd name="connsiteX16" fmla="*/ 127305 w 296400"/>
                <a:gd name="connsiteY16" fmla="*/ 189992 h 405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6400" h="405970">
                  <a:moveTo>
                    <a:pt x="280597" y="120457"/>
                  </a:moveTo>
                  <a:cubicBezTo>
                    <a:pt x="280597" y="29851"/>
                    <a:pt x="217384" y="0"/>
                    <a:pt x="134504" y="0"/>
                  </a:cubicBezTo>
                  <a:lnTo>
                    <a:pt x="0" y="0"/>
                  </a:lnTo>
                  <a:lnTo>
                    <a:pt x="0" y="405971"/>
                  </a:lnTo>
                  <a:lnTo>
                    <a:pt x="70588" y="405971"/>
                  </a:lnTo>
                  <a:lnTo>
                    <a:pt x="70588" y="247059"/>
                  </a:lnTo>
                  <a:lnTo>
                    <a:pt x="131519" y="247059"/>
                  </a:lnTo>
                  <a:lnTo>
                    <a:pt x="217384" y="405971"/>
                  </a:lnTo>
                  <a:lnTo>
                    <a:pt x="296400" y="405971"/>
                  </a:lnTo>
                  <a:lnTo>
                    <a:pt x="201405" y="236524"/>
                  </a:lnTo>
                  <a:cubicBezTo>
                    <a:pt x="248990" y="219842"/>
                    <a:pt x="280597" y="182617"/>
                    <a:pt x="280597" y="120457"/>
                  </a:cubicBezTo>
                  <a:close/>
                  <a:moveTo>
                    <a:pt x="127305" y="189992"/>
                  </a:moveTo>
                  <a:lnTo>
                    <a:pt x="70764" y="189992"/>
                  </a:lnTo>
                  <a:lnTo>
                    <a:pt x="70764" y="57770"/>
                  </a:lnTo>
                  <a:lnTo>
                    <a:pt x="127305" y="57770"/>
                  </a:lnTo>
                  <a:cubicBezTo>
                    <a:pt x="181387" y="57770"/>
                    <a:pt x="211238" y="73925"/>
                    <a:pt x="211238" y="120457"/>
                  </a:cubicBezTo>
                  <a:cubicBezTo>
                    <a:pt x="211238" y="166462"/>
                    <a:pt x="181387" y="189992"/>
                    <a:pt x="127305" y="189992"/>
                  </a:cubicBezTo>
                  <a:close/>
                </a:path>
              </a:pathLst>
            </a:custGeom>
            <a:solidFill>
              <a:srgbClr val="231B37"/>
            </a:solidFill>
            <a:ln w="17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8" name="Vrije vorm: vorm 17">
              <a:extLst>
                <a:ext uri="{FF2B5EF4-FFF2-40B4-BE49-F238E27FC236}">
                  <a16:creationId xmlns:a16="http://schemas.microsoft.com/office/drawing/2014/main" id="{604DE361-1F44-4C56-A645-111C0FC988F1}"/>
                </a:ext>
              </a:extLst>
            </p:cNvPr>
            <p:cNvSpPr/>
            <p:nvPr/>
          </p:nvSpPr>
          <p:spPr>
            <a:xfrm>
              <a:off x="5915840" y="3220571"/>
              <a:ext cx="352414" cy="406146"/>
            </a:xfrm>
            <a:custGeom>
              <a:avLst/>
              <a:gdLst>
                <a:gd name="connsiteX0" fmla="*/ 203336 w 352414"/>
                <a:gd name="connsiteY0" fmla="*/ 198771 h 406146"/>
                <a:gd name="connsiteX1" fmla="*/ 178402 w 352414"/>
                <a:gd name="connsiteY1" fmla="*/ 278315 h 406146"/>
                <a:gd name="connsiteX2" fmla="*/ 175944 w 352414"/>
                <a:gd name="connsiteY2" fmla="*/ 278315 h 406146"/>
                <a:gd name="connsiteX3" fmla="*/ 150307 w 352414"/>
                <a:gd name="connsiteY3" fmla="*/ 198771 h 406146"/>
                <a:gd name="connsiteX4" fmla="*/ 79719 w 352414"/>
                <a:gd name="connsiteY4" fmla="*/ 176 h 406146"/>
                <a:gd name="connsiteX5" fmla="*/ 0 w 352414"/>
                <a:gd name="connsiteY5" fmla="*/ 176 h 406146"/>
                <a:gd name="connsiteX6" fmla="*/ 0 w 352414"/>
                <a:gd name="connsiteY6" fmla="*/ 406146 h 406146"/>
                <a:gd name="connsiteX7" fmla="*/ 63916 w 352414"/>
                <a:gd name="connsiteY7" fmla="*/ 406146 h 406146"/>
                <a:gd name="connsiteX8" fmla="*/ 63916 w 352414"/>
                <a:gd name="connsiteY8" fmla="*/ 220545 h 406146"/>
                <a:gd name="connsiteX9" fmla="*/ 54785 w 352414"/>
                <a:gd name="connsiteY9" fmla="*/ 91484 h 406146"/>
                <a:gd name="connsiteX10" fmla="*/ 57243 w 352414"/>
                <a:gd name="connsiteY10" fmla="*/ 91484 h 406146"/>
                <a:gd name="connsiteX11" fmla="*/ 88850 w 352414"/>
                <a:gd name="connsiteY11" fmla="*/ 185777 h 406146"/>
                <a:gd name="connsiteX12" fmla="*/ 154521 w 352414"/>
                <a:gd name="connsiteY12" fmla="*/ 368218 h 406146"/>
                <a:gd name="connsiteX13" fmla="*/ 196488 w 352414"/>
                <a:gd name="connsiteY13" fmla="*/ 368218 h 406146"/>
                <a:gd name="connsiteX14" fmla="*/ 261633 w 352414"/>
                <a:gd name="connsiteY14" fmla="*/ 185777 h 406146"/>
                <a:gd name="connsiteX15" fmla="*/ 293942 w 352414"/>
                <a:gd name="connsiteY15" fmla="*/ 91484 h 406146"/>
                <a:gd name="connsiteX16" fmla="*/ 296400 w 352414"/>
                <a:gd name="connsiteY16" fmla="*/ 91484 h 406146"/>
                <a:gd name="connsiteX17" fmla="*/ 287270 w 352414"/>
                <a:gd name="connsiteY17" fmla="*/ 220545 h 406146"/>
                <a:gd name="connsiteX18" fmla="*/ 287270 w 352414"/>
                <a:gd name="connsiteY18" fmla="*/ 406146 h 406146"/>
                <a:gd name="connsiteX19" fmla="*/ 352415 w 352414"/>
                <a:gd name="connsiteY19" fmla="*/ 406146 h 406146"/>
                <a:gd name="connsiteX20" fmla="*/ 352415 w 352414"/>
                <a:gd name="connsiteY20" fmla="*/ 0 h 406146"/>
                <a:gd name="connsiteX21" fmla="*/ 272169 w 352414"/>
                <a:gd name="connsiteY21" fmla="*/ 0 h 406146"/>
                <a:gd name="connsiteX22" fmla="*/ 203336 w 352414"/>
                <a:gd name="connsiteY22" fmla="*/ 198771 h 406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52414" h="406146">
                  <a:moveTo>
                    <a:pt x="203336" y="198771"/>
                  </a:moveTo>
                  <a:cubicBezTo>
                    <a:pt x="194732" y="224232"/>
                    <a:pt x="186831" y="251625"/>
                    <a:pt x="178402" y="278315"/>
                  </a:cubicBezTo>
                  <a:lnTo>
                    <a:pt x="175944" y="278315"/>
                  </a:lnTo>
                  <a:cubicBezTo>
                    <a:pt x="167515" y="251625"/>
                    <a:pt x="158911" y="224232"/>
                    <a:pt x="150307" y="198771"/>
                  </a:cubicBezTo>
                  <a:lnTo>
                    <a:pt x="79719" y="176"/>
                  </a:lnTo>
                  <a:lnTo>
                    <a:pt x="0" y="176"/>
                  </a:lnTo>
                  <a:lnTo>
                    <a:pt x="0" y="406146"/>
                  </a:lnTo>
                  <a:lnTo>
                    <a:pt x="63916" y="406146"/>
                  </a:lnTo>
                  <a:lnTo>
                    <a:pt x="63916" y="220545"/>
                  </a:lnTo>
                  <a:cubicBezTo>
                    <a:pt x="63916" y="182617"/>
                    <a:pt x="57770" y="128710"/>
                    <a:pt x="54785" y="91484"/>
                  </a:cubicBezTo>
                  <a:lnTo>
                    <a:pt x="57243" y="91484"/>
                  </a:lnTo>
                  <a:lnTo>
                    <a:pt x="88850" y="185777"/>
                  </a:lnTo>
                  <a:lnTo>
                    <a:pt x="154521" y="368218"/>
                  </a:lnTo>
                  <a:lnTo>
                    <a:pt x="196488" y="368218"/>
                  </a:lnTo>
                  <a:lnTo>
                    <a:pt x="261633" y="185777"/>
                  </a:lnTo>
                  <a:lnTo>
                    <a:pt x="293942" y="91484"/>
                  </a:lnTo>
                  <a:lnTo>
                    <a:pt x="296400" y="91484"/>
                  </a:lnTo>
                  <a:cubicBezTo>
                    <a:pt x="292713" y="128710"/>
                    <a:pt x="287270" y="182792"/>
                    <a:pt x="287270" y="220545"/>
                  </a:cubicBezTo>
                  <a:lnTo>
                    <a:pt x="287270" y="406146"/>
                  </a:lnTo>
                  <a:lnTo>
                    <a:pt x="352415" y="406146"/>
                  </a:lnTo>
                  <a:lnTo>
                    <a:pt x="352415" y="0"/>
                  </a:lnTo>
                  <a:lnTo>
                    <a:pt x="272169" y="0"/>
                  </a:lnTo>
                  <a:lnTo>
                    <a:pt x="203336" y="198771"/>
                  </a:lnTo>
                  <a:close/>
                </a:path>
              </a:pathLst>
            </a:custGeom>
            <a:solidFill>
              <a:srgbClr val="231B37"/>
            </a:solidFill>
            <a:ln w="17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9" name="Vrije vorm: vorm 18">
              <a:extLst>
                <a:ext uri="{FF2B5EF4-FFF2-40B4-BE49-F238E27FC236}">
                  <a16:creationId xmlns:a16="http://schemas.microsoft.com/office/drawing/2014/main" id="{C32FBC8A-F8C8-498A-AC05-F1C51BBF5CA4}"/>
                </a:ext>
              </a:extLst>
            </p:cNvPr>
            <p:cNvSpPr/>
            <p:nvPr/>
          </p:nvSpPr>
          <p:spPr>
            <a:xfrm>
              <a:off x="6374840" y="3220571"/>
              <a:ext cx="245829" cy="406146"/>
            </a:xfrm>
            <a:custGeom>
              <a:avLst/>
              <a:gdLst>
                <a:gd name="connsiteX0" fmla="*/ 70588 w 245829"/>
                <a:gd name="connsiteY0" fmla="*/ 225461 h 406146"/>
                <a:gd name="connsiteX1" fmla="*/ 213521 w 245829"/>
                <a:gd name="connsiteY1" fmla="*/ 225461 h 406146"/>
                <a:gd name="connsiteX2" fmla="*/ 213521 w 245829"/>
                <a:gd name="connsiteY2" fmla="*/ 164531 h 406146"/>
                <a:gd name="connsiteX3" fmla="*/ 70588 w 245829"/>
                <a:gd name="connsiteY3" fmla="*/ 164531 h 406146"/>
                <a:gd name="connsiteX4" fmla="*/ 70588 w 245829"/>
                <a:gd name="connsiteY4" fmla="*/ 60931 h 406146"/>
                <a:gd name="connsiteX5" fmla="*/ 239860 w 245829"/>
                <a:gd name="connsiteY5" fmla="*/ 60931 h 406146"/>
                <a:gd name="connsiteX6" fmla="*/ 239860 w 245829"/>
                <a:gd name="connsiteY6" fmla="*/ 0 h 406146"/>
                <a:gd name="connsiteX7" fmla="*/ 0 w 245829"/>
                <a:gd name="connsiteY7" fmla="*/ 0 h 406146"/>
                <a:gd name="connsiteX8" fmla="*/ 0 w 245829"/>
                <a:gd name="connsiteY8" fmla="*/ 406146 h 406146"/>
                <a:gd name="connsiteX9" fmla="*/ 245830 w 245829"/>
                <a:gd name="connsiteY9" fmla="*/ 406146 h 406146"/>
                <a:gd name="connsiteX10" fmla="*/ 245830 w 245829"/>
                <a:gd name="connsiteY10" fmla="*/ 345216 h 406146"/>
                <a:gd name="connsiteX11" fmla="*/ 70588 w 245829"/>
                <a:gd name="connsiteY11" fmla="*/ 345216 h 406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5829" h="406146">
                  <a:moveTo>
                    <a:pt x="70588" y="225461"/>
                  </a:moveTo>
                  <a:lnTo>
                    <a:pt x="213521" y="225461"/>
                  </a:lnTo>
                  <a:lnTo>
                    <a:pt x="213521" y="164531"/>
                  </a:lnTo>
                  <a:lnTo>
                    <a:pt x="70588" y="164531"/>
                  </a:lnTo>
                  <a:lnTo>
                    <a:pt x="70588" y="60931"/>
                  </a:lnTo>
                  <a:lnTo>
                    <a:pt x="239860" y="60931"/>
                  </a:lnTo>
                  <a:lnTo>
                    <a:pt x="239860" y="0"/>
                  </a:lnTo>
                  <a:lnTo>
                    <a:pt x="0" y="0"/>
                  </a:lnTo>
                  <a:lnTo>
                    <a:pt x="0" y="406146"/>
                  </a:lnTo>
                  <a:lnTo>
                    <a:pt x="245830" y="406146"/>
                  </a:lnTo>
                  <a:lnTo>
                    <a:pt x="245830" y="345216"/>
                  </a:lnTo>
                  <a:lnTo>
                    <a:pt x="70588" y="345216"/>
                  </a:lnTo>
                  <a:close/>
                </a:path>
              </a:pathLst>
            </a:custGeom>
            <a:solidFill>
              <a:srgbClr val="231B37"/>
            </a:solidFill>
            <a:ln w="17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0" name="Vrije vorm: vorm 19">
              <a:extLst>
                <a:ext uri="{FF2B5EF4-FFF2-40B4-BE49-F238E27FC236}">
                  <a16:creationId xmlns:a16="http://schemas.microsoft.com/office/drawing/2014/main" id="{948DDCD5-8880-43D1-A114-F313AB992472}"/>
                </a:ext>
              </a:extLst>
            </p:cNvPr>
            <p:cNvSpPr/>
            <p:nvPr/>
          </p:nvSpPr>
          <p:spPr>
            <a:xfrm>
              <a:off x="6662110" y="3220571"/>
              <a:ext cx="342054" cy="406146"/>
            </a:xfrm>
            <a:custGeom>
              <a:avLst/>
              <a:gdLst>
                <a:gd name="connsiteX0" fmla="*/ 129587 w 342054"/>
                <a:gd name="connsiteY0" fmla="*/ 0 h 406146"/>
                <a:gd name="connsiteX1" fmla="*/ 0 w 342054"/>
                <a:gd name="connsiteY1" fmla="*/ 405971 h 406146"/>
                <a:gd name="connsiteX2" fmla="*/ 71817 w 342054"/>
                <a:gd name="connsiteY2" fmla="*/ 405971 h 406146"/>
                <a:gd name="connsiteX3" fmla="*/ 102897 w 342054"/>
                <a:gd name="connsiteY3" fmla="*/ 296225 h 406146"/>
                <a:gd name="connsiteX4" fmla="*/ 236699 w 342054"/>
                <a:gd name="connsiteY4" fmla="*/ 296225 h 406146"/>
                <a:gd name="connsiteX5" fmla="*/ 267779 w 342054"/>
                <a:gd name="connsiteY5" fmla="*/ 406146 h 406146"/>
                <a:gd name="connsiteX6" fmla="*/ 342055 w 342054"/>
                <a:gd name="connsiteY6" fmla="*/ 406146 h 406146"/>
                <a:gd name="connsiteX7" fmla="*/ 212467 w 342054"/>
                <a:gd name="connsiteY7" fmla="*/ 176 h 406146"/>
                <a:gd name="connsiteX8" fmla="*/ 129587 w 342054"/>
                <a:gd name="connsiteY8" fmla="*/ 176 h 406146"/>
                <a:gd name="connsiteX9" fmla="*/ 119227 w 342054"/>
                <a:gd name="connsiteY9" fmla="*/ 239684 h 406146"/>
                <a:gd name="connsiteX10" fmla="*/ 133275 w 342054"/>
                <a:gd name="connsiteY10" fmla="*/ 189992 h 406146"/>
                <a:gd name="connsiteX11" fmla="*/ 168569 w 342054"/>
                <a:gd name="connsiteY11" fmla="*/ 55839 h 406146"/>
                <a:gd name="connsiteX12" fmla="*/ 171027 w 342054"/>
                <a:gd name="connsiteY12" fmla="*/ 55839 h 406146"/>
                <a:gd name="connsiteX13" fmla="*/ 206848 w 342054"/>
                <a:gd name="connsiteY13" fmla="*/ 189992 h 406146"/>
                <a:gd name="connsiteX14" fmla="*/ 220896 w 342054"/>
                <a:gd name="connsiteY14" fmla="*/ 239684 h 406146"/>
                <a:gd name="connsiteX15" fmla="*/ 119227 w 342054"/>
                <a:gd name="connsiteY15" fmla="*/ 239684 h 406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42054" h="406146">
                  <a:moveTo>
                    <a:pt x="129587" y="0"/>
                  </a:moveTo>
                  <a:lnTo>
                    <a:pt x="0" y="405971"/>
                  </a:lnTo>
                  <a:lnTo>
                    <a:pt x="71817" y="405971"/>
                  </a:lnTo>
                  <a:lnTo>
                    <a:pt x="102897" y="296225"/>
                  </a:lnTo>
                  <a:lnTo>
                    <a:pt x="236699" y="296225"/>
                  </a:lnTo>
                  <a:lnTo>
                    <a:pt x="267779" y="406146"/>
                  </a:lnTo>
                  <a:lnTo>
                    <a:pt x="342055" y="406146"/>
                  </a:lnTo>
                  <a:lnTo>
                    <a:pt x="212467" y="176"/>
                  </a:lnTo>
                  <a:lnTo>
                    <a:pt x="129587" y="176"/>
                  </a:lnTo>
                  <a:close/>
                  <a:moveTo>
                    <a:pt x="119227" y="239684"/>
                  </a:moveTo>
                  <a:lnTo>
                    <a:pt x="133275" y="189992"/>
                  </a:lnTo>
                  <a:cubicBezTo>
                    <a:pt x="146093" y="147147"/>
                    <a:pt x="157682" y="101142"/>
                    <a:pt x="168569" y="55839"/>
                  </a:cubicBezTo>
                  <a:lnTo>
                    <a:pt x="171027" y="55839"/>
                  </a:lnTo>
                  <a:cubicBezTo>
                    <a:pt x="182616" y="100615"/>
                    <a:pt x="194206" y="147147"/>
                    <a:pt x="206848" y="189992"/>
                  </a:cubicBezTo>
                  <a:lnTo>
                    <a:pt x="220896" y="239684"/>
                  </a:lnTo>
                  <a:lnTo>
                    <a:pt x="119227" y="239684"/>
                  </a:lnTo>
                  <a:close/>
                </a:path>
              </a:pathLst>
            </a:custGeom>
            <a:solidFill>
              <a:srgbClr val="231B37"/>
            </a:solidFill>
            <a:ln w="17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1" name="Vrije vorm: vorm 20">
              <a:extLst>
                <a:ext uri="{FF2B5EF4-FFF2-40B4-BE49-F238E27FC236}">
                  <a16:creationId xmlns:a16="http://schemas.microsoft.com/office/drawing/2014/main" id="{0F43F529-DCFA-4CF0-8698-8B34478CDC29}"/>
                </a:ext>
              </a:extLst>
            </p:cNvPr>
            <p:cNvSpPr/>
            <p:nvPr/>
          </p:nvSpPr>
          <p:spPr>
            <a:xfrm>
              <a:off x="7150960" y="3218289"/>
              <a:ext cx="290781" cy="415628"/>
            </a:xfrm>
            <a:custGeom>
              <a:avLst/>
              <a:gdLst>
                <a:gd name="connsiteX0" fmla="*/ 167867 w 290781"/>
                <a:gd name="connsiteY0" fmla="*/ 234943 h 415628"/>
                <a:gd name="connsiteX1" fmla="*/ 264091 w 290781"/>
                <a:gd name="connsiteY1" fmla="*/ 234943 h 415628"/>
                <a:gd name="connsiteX2" fmla="*/ 264091 w 290781"/>
                <a:gd name="connsiteY2" fmla="*/ 359790 h 415628"/>
                <a:gd name="connsiteX3" fmla="*/ 225461 w 290781"/>
                <a:gd name="connsiteY3" fmla="*/ 382266 h 415628"/>
                <a:gd name="connsiteX4" fmla="*/ 174012 w 290781"/>
                <a:gd name="connsiteY4" fmla="*/ 390167 h 415628"/>
                <a:gd name="connsiteX5" fmla="*/ 112906 w 290781"/>
                <a:gd name="connsiteY5" fmla="*/ 376998 h 415628"/>
                <a:gd name="connsiteX6" fmla="*/ 67252 w 290781"/>
                <a:gd name="connsiteY6" fmla="*/ 340124 h 415628"/>
                <a:gd name="connsiteX7" fmla="*/ 38982 w 290781"/>
                <a:gd name="connsiteY7" fmla="*/ 282529 h 415628"/>
                <a:gd name="connsiteX8" fmla="*/ 29324 w 290781"/>
                <a:gd name="connsiteY8" fmla="*/ 206848 h 415628"/>
                <a:gd name="connsiteX9" fmla="*/ 39684 w 290781"/>
                <a:gd name="connsiteY9" fmla="*/ 131344 h 415628"/>
                <a:gd name="connsiteX10" fmla="*/ 69184 w 290781"/>
                <a:gd name="connsiteY10" fmla="*/ 74451 h 415628"/>
                <a:gd name="connsiteX11" fmla="*/ 115716 w 290781"/>
                <a:gd name="connsiteY11" fmla="*/ 38279 h 415628"/>
                <a:gd name="connsiteX12" fmla="*/ 177876 w 290781"/>
                <a:gd name="connsiteY12" fmla="*/ 25461 h 415628"/>
                <a:gd name="connsiteX13" fmla="*/ 232660 w 290781"/>
                <a:gd name="connsiteY13" fmla="*/ 37577 h 415628"/>
                <a:gd name="connsiteX14" fmla="*/ 270413 w 290781"/>
                <a:gd name="connsiteY14" fmla="*/ 66725 h 415628"/>
                <a:gd name="connsiteX15" fmla="*/ 286919 w 290781"/>
                <a:gd name="connsiteY15" fmla="*/ 47937 h 415628"/>
                <a:gd name="connsiteX16" fmla="*/ 268306 w 290781"/>
                <a:gd name="connsiteY16" fmla="*/ 30904 h 415628"/>
                <a:gd name="connsiteX17" fmla="*/ 244250 w 290781"/>
                <a:gd name="connsiteY17" fmla="*/ 15452 h 415628"/>
                <a:gd name="connsiteX18" fmla="*/ 214048 w 290781"/>
                <a:gd name="connsiteY18" fmla="*/ 4214 h 415628"/>
                <a:gd name="connsiteX19" fmla="*/ 177173 w 290781"/>
                <a:gd name="connsiteY19" fmla="*/ 0 h 415628"/>
                <a:gd name="connsiteX20" fmla="*/ 104653 w 290781"/>
                <a:gd name="connsiteY20" fmla="*/ 14223 h 415628"/>
                <a:gd name="connsiteX21" fmla="*/ 48639 w 290781"/>
                <a:gd name="connsiteY21" fmla="*/ 55663 h 415628"/>
                <a:gd name="connsiteX22" fmla="*/ 12818 w 290781"/>
                <a:gd name="connsiteY22" fmla="*/ 121159 h 415628"/>
                <a:gd name="connsiteX23" fmla="*/ 0 w 290781"/>
                <a:gd name="connsiteY23" fmla="*/ 207024 h 415628"/>
                <a:gd name="connsiteX24" fmla="*/ 12467 w 290781"/>
                <a:gd name="connsiteY24" fmla="*/ 293767 h 415628"/>
                <a:gd name="connsiteX25" fmla="*/ 47410 w 290781"/>
                <a:gd name="connsiteY25" fmla="*/ 359439 h 415628"/>
                <a:gd name="connsiteX26" fmla="*/ 101493 w 290781"/>
                <a:gd name="connsiteY26" fmla="*/ 401054 h 415628"/>
                <a:gd name="connsiteX27" fmla="*/ 172081 w 290781"/>
                <a:gd name="connsiteY27" fmla="*/ 415628 h 415628"/>
                <a:gd name="connsiteX28" fmla="*/ 241791 w 290781"/>
                <a:gd name="connsiteY28" fmla="*/ 402810 h 415628"/>
                <a:gd name="connsiteX29" fmla="*/ 290782 w 290781"/>
                <a:gd name="connsiteY29" fmla="*/ 369974 h 415628"/>
                <a:gd name="connsiteX30" fmla="*/ 290782 w 290781"/>
                <a:gd name="connsiteY30" fmla="*/ 211063 h 415628"/>
                <a:gd name="connsiteX31" fmla="*/ 167867 w 290781"/>
                <a:gd name="connsiteY31" fmla="*/ 211063 h 415628"/>
                <a:gd name="connsiteX32" fmla="*/ 167867 w 290781"/>
                <a:gd name="connsiteY32" fmla="*/ 234943 h 415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90781" h="415628">
                  <a:moveTo>
                    <a:pt x="167867" y="234943"/>
                  </a:moveTo>
                  <a:lnTo>
                    <a:pt x="264091" y="234943"/>
                  </a:lnTo>
                  <a:lnTo>
                    <a:pt x="264091" y="359790"/>
                  </a:lnTo>
                  <a:cubicBezTo>
                    <a:pt x="254434" y="369448"/>
                    <a:pt x="241440" y="376998"/>
                    <a:pt x="225461" y="382266"/>
                  </a:cubicBezTo>
                  <a:cubicBezTo>
                    <a:pt x="209482" y="387534"/>
                    <a:pt x="192274" y="390167"/>
                    <a:pt x="174012" y="390167"/>
                  </a:cubicBezTo>
                  <a:cubicBezTo>
                    <a:pt x="151361" y="390167"/>
                    <a:pt x="130817" y="385778"/>
                    <a:pt x="112906" y="376998"/>
                  </a:cubicBezTo>
                  <a:cubicBezTo>
                    <a:pt x="94820" y="368218"/>
                    <a:pt x="79719" y="355927"/>
                    <a:pt x="67252" y="340124"/>
                  </a:cubicBezTo>
                  <a:cubicBezTo>
                    <a:pt x="54785" y="324320"/>
                    <a:pt x="45478" y="305180"/>
                    <a:pt x="38982" y="282529"/>
                  </a:cubicBezTo>
                  <a:cubicBezTo>
                    <a:pt x="32484" y="260053"/>
                    <a:pt x="29324" y="234768"/>
                    <a:pt x="29324" y="206848"/>
                  </a:cubicBezTo>
                  <a:cubicBezTo>
                    <a:pt x="29324" y="178929"/>
                    <a:pt x="32836" y="153644"/>
                    <a:pt x="39684" y="131344"/>
                  </a:cubicBezTo>
                  <a:cubicBezTo>
                    <a:pt x="46532" y="109043"/>
                    <a:pt x="56365" y="90079"/>
                    <a:pt x="69184" y="74451"/>
                  </a:cubicBezTo>
                  <a:cubicBezTo>
                    <a:pt x="82002" y="58824"/>
                    <a:pt x="97454" y="46708"/>
                    <a:pt x="115716" y="38279"/>
                  </a:cubicBezTo>
                  <a:cubicBezTo>
                    <a:pt x="133977" y="29675"/>
                    <a:pt x="154697" y="25461"/>
                    <a:pt x="177876" y="25461"/>
                  </a:cubicBezTo>
                  <a:cubicBezTo>
                    <a:pt x="199825" y="25461"/>
                    <a:pt x="218086" y="29500"/>
                    <a:pt x="232660" y="37577"/>
                  </a:cubicBezTo>
                  <a:cubicBezTo>
                    <a:pt x="247235" y="45654"/>
                    <a:pt x="259877" y="55487"/>
                    <a:pt x="270413" y="66725"/>
                  </a:cubicBezTo>
                  <a:lnTo>
                    <a:pt x="286919" y="47937"/>
                  </a:lnTo>
                  <a:cubicBezTo>
                    <a:pt x="281651" y="42318"/>
                    <a:pt x="275505" y="36523"/>
                    <a:pt x="268306" y="30904"/>
                  </a:cubicBezTo>
                  <a:cubicBezTo>
                    <a:pt x="261106" y="25285"/>
                    <a:pt x="253205" y="20018"/>
                    <a:pt x="244250" y="15452"/>
                  </a:cubicBezTo>
                  <a:cubicBezTo>
                    <a:pt x="235294" y="10711"/>
                    <a:pt x="225286" y="7024"/>
                    <a:pt x="214048" y="4214"/>
                  </a:cubicBezTo>
                  <a:cubicBezTo>
                    <a:pt x="202810" y="1405"/>
                    <a:pt x="190694" y="0"/>
                    <a:pt x="177173" y="0"/>
                  </a:cubicBezTo>
                  <a:cubicBezTo>
                    <a:pt x="150834" y="0"/>
                    <a:pt x="126602" y="4741"/>
                    <a:pt x="104653" y="14223"/>
                  </a:cubicBezTo>
                  <a:cubicBezTo>
                    <a:pt x="82704" y="23705"/>
                    <a:pt x="64091" y="37577"/>
                    <a:pt x="48639" y="55663"/>
                  </a:cubicBezTo>
                  <a:cubicBezTo>
                    <a:pt x="33187" y="73749"/>
                    <a:pt x="21247" y="95523"/>
                    <a:pt x="12818" y="121159"/>
                  </a:cubicBezTo>
                  <a:cubicBezTo>
                    <a:pt x="4390" y="146796"/>
                    <a:pt x="0" y="175242"/>
                    <a:pt x="0" y="207024"/>
                  </a:cubicBezTo>
                  <a:cubicBezTo>
                    <a:pt x="0" y="239158"/>
                    <a:pt x="4214" y="267955"/>
                    <a:pt x="12467" y="293767"/>
                  </a:cubicBezTo>
                  <a:cubicBezTo>
                    <a:pt x="20720" y="319579"/>
                    <a:pt x="32484" y="341528"/>
                    <a:pt x="47410" y="359439"/>
                  </a:cubicBezTo>
                  <a:cubicBezTo>
                    <a:pt x="62335" y="377525"/>
                    <a:pt x="80422" y="391397"/>
                    <a:pt x="101493" y="401054"/>
                  </a:cubicBezTo>
                  <a:cubicBezTo>
                    <a:pt x="122564" y="410712"/>
                    <a:pt x="146093" y="415628"/>
                    <a:pt x="172081" y="415628"/>
                  </a:cubicBezTo>
                  <a:cubicBezTo>
                    <a:pt x="198420" y="415628"/>
                    <a:pt x="221598" y="411414"/>
                    <a:pt x="241791" y="402810"/>
                  </a:cubicBezTo>
                  <a:cubicBezTo>
                    <a:pt x="261809" y="394206"/>
                    <a:pt x="278139" y="383319"/>
                    <a:pt x="290782" y="369974"/>
                  </a:cubicBezTo>
                  <a:lnTo>
                    <a:pt x="290782" y="211063"/>
                  </a:lnTo>
                  <a:lnTo>
                    <a:pt x="167867" y="211063"/>
                  </a:lnTo>
                  <a:lnTo>
                    <a:pt x="167867" y="234943"/>
                  </a:lnTo>
                  <a:close/>
                </a:path>
              </a:pathLst>
            </a:custGeom>
            <a:solidFill>
              <a:srgbClr val="231B37"/>
            </a:solidFill>
            <a:ln w="17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2" name="Vrije vorm: vorm 21">
              <a:extLst>
                <a:ext uri="{FF2B5EF4-FFF2-40B4-BE49-F238E27FC236}">
                  <a16:creationId xmlns:a16="http://schemas.microsoft.com/office/drawing/2014/main" id="{68507599-1422-491F-A728-F1820278A8FB}"/>
                </a:ext>
              </a:extLst>
            </p:cNvPr>
            <p:cNvSpPr/>
            <p:nvPr/>
          </p:nvSpPr>
          <p:spPr>
            <a:xfrm>
              <a:off x="7550082" y="3225488"/>
              <a:ext cx="254258" cy="401054"/>
            </a:xfrm>
            <a:custGeom>
              <a:avLst/>
              <a:gdLst>
                <a:gd name="connsiteX0" fmla="*/ 218788 w 254258"/>
                <a:gd name="connsiteY0" fmla="*/ 181387 h 401054"/>
                <a:gd name="connsiteX1" fmla="*/ 246532 w 254258"/>
                <a:gd name="connsiteY1" fmla="*/ 105883 h 401054"/>
                <a:gd name="connsiteX2" fmla="*/ 237050 w 254258"/>
                <a:gd name="connsiteY2" fmla="*/ 57243 h 401054"/>
                <a:gd name="connsiteX3" fmla="*/ 210536 w 254258"/>
                <a:gd name="connsiteY3" fmla="*/ 24407 h 401054"/>
                <a:gd name="connsiteX4" fmla="*/ 169096 w 254258"/>
                <a:gd name="connsiteY4" fmla="*/ 5795 h 401054"/>
                <a:gd name="connsiteX5" fmla="*/ 115013 w 254258"/>
                <a:gd name="connsiteY5" fmla="*/ 0 h 401054"/>
                <a:gd name="connsiteX6" fmla="*/ 0 w 254258"/>
                <a:gd name="connsiteY6" fmla="*/ 0 h 401054"/>
                <a:gd name="connsiteX7" fmla="*/ 0 w 254258"/>
                <a:gd name="connsiteY7" fmla="*/ 401054 h 401054"/>
                <a:gd name="connsiteX8" fmla="*/ 27919 w 254258"/>
                <a:gd name="connsiteY8" fmla="*/ 401054 h 401054"/>
                <a:gd name="connsiteX9" fmla="*/ 27919 w 254258"/>
                <a:gd name="connsiteY9" fmla="*/ 216682 h 401054"/>
                <a:gd name="connsiteX10" fmla="*/ 113082 w 254258"/>
                <a:gd name="connsiteY10" fmla="*/ 216682 h 401054"/>
                <a:gd name="connsiteX11" fmla="*/ 221950 w 254258"/>
                <a:gd name="connsiteY11" fmla="*/ 401054 h 401054"/>
                <a:gd name="connsiteX12" fmla="*/ 254259 w 254258"/>
                <a:gd name="connsiteY12" fmla="*/ 401054 h 401054"/>
                <a:gd name="connsiteX13" fmla="*/ 143459 w 254258"/>
                <a:gd name="connsiteY13" fmla="*/ 214750 h 401054"/>
                <a:gd name="connsiteX14" fmla="*/ 218788 w 254258"/>
                <a:gd name="connsiteY14" fmla="*/ 181387 h 401054"/>
                <a:gd name="connsiteX15" fmla="*/ 107638 w 254258"/>
                <a:gd name="connsiteY15" fmla="*/ 193679 h 401054"/>
                <a:gd name="connsiteX16" fmla="*/ 27919 w 254258"/>
                <a:gd name="connsiteY16" fmla="*/ 193679 h 401054"/>
                <a:gd name="connsiteX17" fmla="*/ 27919 w 254258"/>
                <a:gd name="connsiteY17" fmla="*/ 23881 h 401054"/>
                <a:gd name="connsiteX18" fmla="*/ 107638 w 254258"/>
                <a:gd name="connsiteY18" fmla="*/ 23881 h 401054"/>
                <a:gd name="connsiteX19" fmla="*/ 189113 w 254258"/>
                <a:gd name="connsiteY19" fmla="*/ 42493 h 401054"/>
                <a:gd name="connsiteX20" fmla="*/ 217735 w 254258"/>
                <a:gd name="connsiteY20" fmla="*/ 106058 h 401054"/>
                <a:gd name="connsiteX21" fmla="*/ 189465 w 254258"/>
                <a:gd name="connsiteY21" fmla="*/ 172081 h 401054"/>
                <a:gd name="connsiteX22" fmla="*/ 107638 w 254258"/>
                <a:gd name="connsiteY22" fmla="*/ 193679 h 401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4258" h="401054">
                  <a:moveTo>
                    <a:pt x="218788" y="181387"/>
                  </a:moveTo>
                  <a:cubicBezTo>
                    <a:pt x="237226" y="163126"/>
                    <a:pt x="246532" y="138016"/>
                    <a:pt x="246532" y="105883"/>
                  </a:cubicBezTo>
                  <a:cubicBezTo>
                    <a:pt x="246532" y="86743"/>
                    <a:pt x="243372" y="70588"/>
                    <a:pt x="237050" y="57243"/>
                  </a:cubicBezTo>
                  <a:cubicBezTo>
                    <a:pt x="230729" y="43898"/>
                    <a:pt x="221950" y="32836"/>
                    <a:pt x="210536" y="24407"/>
                  </a:cubicBezTo>
                  <a:cubicBezTo>
                    <a:pt x="199122" y="15803"/>
                    <a:pt x="185426" y="9658"/>
                    <a:pt x="169096" y="5795"/>
                  </a:cubicBezTo>
                  <a:cubicBezTo>
                    <a:pt x="152941" y="1932"/>
                    <a:pt x="134855" y="0"/>
                    <a:pt x="115013" y="0"/>
                  </a:cubicBezTo>
                  <a:lnTo>
                    <a:pt x="0" y="0"/>
                  </a:lnTo>
                  <a:lnTo>
                    <a:pt x="0" y="401054"/>
                  </a:lnTo>
                  <a:lnTo>
                    <a:pt x="27919" y="401054"/>
                  </a:lnTo>
                  <a:lnTo>
                    <a:pt x="27919" y="216682"/>
                  </a:lnTo>
                  <a:lnTo>
                    <a:pt x="113082" y="216682"/>
                  </a:lnTo>
                  <a:lnTo>
                    <a:pt x="221950" y="401054"/>
                  </a:lnTo>
                  <a:lnTo>
                    <a:pt x="254259" y="401054"/>
                  </a:lnTo>
                  <a:lnTo>
                    <a:pt x="143459" y="214750"/>
                  </a:lnTo>
                  <a:cubicBezTo>
                    <a:pt x="175242" y="210887"/>
                    <a:pt x="200351" y="199649"/>
                    <a:pt x="218788" y="181387"/>
                  </a:cubicBezTo>
                  <a:close/>
                  <a:moveTo>
                    <a:pt x="107638" y="193679"/>
                  </a:moveTo>
                  <a:lnTo>
                    <a:pt x="27919" y="193679"/>
                  </a:lnTo>
                  <a:lnTo>
                    <a:pt x="27919" y="23881"/>
                  </a:lnTo>
                  <a:lnTo>
                    <a:pt x="107638" y="23881"/>
                  </a:lnTo>
                  <a:cubicBezTo>
                    <a:pt x="142933" y="23881"/>
                    <a:pt x="170149" y="30026"/>
                    <a:pt x="189113" y="42493"/>
                  </a:cubicBezTo>
                  <a:cubicBezTo>
                    <a:pt x="208253" y="54961"/>
                    <a:pt x="217735" y="76032"/>
                    <a:pt x="217735" y="106058"/>
                  </a:cubicBezTo>
                  <a:cubicBezTo>
                    <a:pt x="217735" y="135733"/>
                    <a:pt x="208253" y="157682"/>
                    <a:pt x="189465" y="172081"/>
                  </a:cubicBezTo>
                  <a:cubicBezTo>
                    <a:pt x="170676" y="186480"/>
                    <a:pt x="143284" y="193679"/>
                    <a:pt x="107638" y="193679"/>
                  </a:cubicBezTo>
                  <a:close/>
                </a:path>
              </a:pathLst>
            </a:custGeom>
            <a:solidFill>
              <a:srgbClr val="231B37"/>
            </a:solidFill>
            <a:ln w="17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3" name="Vrije vorm: vorm 22">
              <a:extLst>
                <a:ext uri="{FF2B5EF4-FFF2-40B4-BE49-F238E27FC236}">
                  <a16:creationId xmlns:a16="http://schemas.microsoft.com/office/drawing/2014/main" id="{F5797FF4-D765-4698-9EFE-81C9D8AB76CD}"/>
                </a:ext>
              </a:extLst>
            </p:cNvPr>
            <p:cNvSpPr/>
            <p:nvPr/>
          </p:nvSpPr>
          <p:spPr>
            <a:xfrm>
              <a:off x="7861057" y="3218289"/>
              <a:ext cx="330289" cy="415628"/>
            </a:xfrm>
            <a:custGeom>
              <a:avLst/>
              <a:gdLst>
                <a:gd name="connsiteX0" fmla="*/ 284110 w 330289"/>
                <a:gd name="connsiteY0" fmla="*/ 55663 h 415628"/>
                <a:gd name="connsiteX1" fmla="*/ 231783 w 330289"/>
                <a:gd name="connsiteY1" fmla="*/ 14223 h 415628"/>
                <a:gd name="connsiteX2" fmla="*/ 164882 w 330289"/>
                <a:gd name="connsiteY2" fmla="*/ 0 h 415628"/>
                <a:gd name="connsiteX3" fmla="*/ 98508 w 330289"/>
                <a:gd name="connsiteY3" fmla="*/ 14223 h 415628"/>
                <a:gd name="connsiteX4" fmla="*/ 46181 w 330289"/>
                <a:gd name="connsiteY4" fmla="*/ 55663 h 415628"/>
                <a:gd name="connsiteX5" fmla="*/ 12116 w 330289"/>
                <a:gd name="connsiteY5" fmla="*/ 120808 h 415628"/>
                <a:gd name="connsiteX6" fmla="*/ 0 w 330289"/>
                <a:gd name="connsiteY6" fmla="*/ 206322 h 415628"/>
                <a:gd name="connsiteX7" fmla="*/ 12116 w 330289"/>
                <a:gd name="connsiteY7" fmla="*/ 292362 h 415628"/>
                <a:gd name="connsiteX8" fmla="*/ 46181 w 330289"/>
                <a:gd name="connsiteY8" fmla="*/ 358385 h 415628"/>
                <a:gd name="connsiteX9" fmla="*/ 98508 w 330289"/>
                <a:gd name="connsiteY9" fmla="*/ 400703 h 415628"/>
                <a:gd name="connsiteX10" fmla="*/ 164882 w 330289"/>
                <a:gd name="connsiteY10" fmla="*/ 415628 h 415628"/>
                <a:gd name="connsiteX11" fmla="*/ 231783 w 330289"/>
                <a:gd name="connsiteY11" fmla="*/ 400703 h 415628"/>
                <a:gd name="connsiteX12" fmla="*/ 284110 w 330289"/>
                <a:gd name="connsiteY12" fmla="*/ 358385 h 415628"/>
                <a:gd name="connsiteX13" fmla="*/ 318175 w 330289"/>
                <a:gd name="connsiteY13" fmla="*/ 292362 h 415628"/>
                <a:gd name="connsiteX14" fmla="*/ 330290 w 330289"/>
                <a:gd name="connsiteY14" fmla="*/ 206322 h 415628"/>
                <a:gd name="connsiteX15" fmla="*/ 318175 w 330289"/>
                <a:gd name="connsiteY15" fmla="*/ 120808 h 415628"/>
                <a:gd name="connsiteX16" fmla="*/ 284110 w 330289"/>
                <a:gd name="connsiteY16" fmla="*/ 55663 h 415628"/>
                <a:gd name="connsiteX17" fmla="*/ 290782 w 330289"/>
                <a:gd name="connsiteY17" fmla="*/ 282002 h 415628"/>
                <a:gd name="connsiteX18" fmla="*/ 263038 w 330289"/>
                <a:gd name="connsiteY18" fmla="*/ 339772 h 415628"/>
                <a:gd name="connsiteX19" fmla="*/ 220193 w 330289"/>
                <a:gd name="connsiteY19" fmla="*/ 376822 h 415628"/>
                <a:gd name="connsiteX20" fmla="*/ 164882 w 330289"/>
                <a:gd name="connsiteY20" fmla="*/ 389992 h 415628"/>
                <a:gd name="connsiteX21" fmla="*/ 109219 w 330289"/>
                <a:gd name="connsiteY21" fmla="*/ 376822 h 415628"/>
                <a:gd name="connsiteX22" fmla="*/ 66374 w 330289"/>
                <a:gd name="connsiteY22" fmla="*/ 339772 h 415628"/>
                <a:gd name="connsiteX23" fmla="*/ 38982 w 330289"/>
                <a:gd name="connsiteY23" fmla="*/ 282002 h 415628"/>
                <a:gd name="connsiteX24" fmla="*/ 29324 w 330289"/>
                <a:gd name="connsiteY24" fmla="*/ 206322 h 415628"/>
                <a:gd name="connsiteX25" fmla="*/ 38982 w 330289"/>
                <a:gd name="connsiteY25" fmla="*/ 131519 h 415628"/>
                <a:gd name="connsiteX26" fmla="*/ 66374 w 330289"/>
                <a:gd name="connsiteY26" fmla="*/ 74627 h 415628"/>
                <a:gd name="connsiteX27" fmla="*/ 109219 w 330289"/>
                <a:gd name="connsiteY27" fmla="*/ 38455 h 415628"/>
                <a:gd name="connsiteX28" fmla="*/ 164882 w 330289"/>
                <a:gd name="connsiteY28" fmla="*/ 25637 h 415628"/>
                <a:gd name="connsiteX29" fmla="*/ 220193 w 330289"/>
                <a:gd name="connsiteY29" fmla="*/ 38455 h 415628"/>
                <a:gd name="connsiteX30" fmla="*/ 263038 w 330289"/>
                <a:gd name="connsiteY30" fmla="*/ 74627 h 415628"/>
                <a:gd name="connsiteX31" fmla="*/ 290782 w 330289"/>
                <a:gd name="connsiteY31" fmla="*/ 131519 h 415628"/>
                <a:gd name="connsiteX32" fmla="*/ 300439 w 330289"/>
                <a:gd name="connsiteY32" fmla="*/ 206322 h 415628"/>
                <a:gd name="connsiteX33" fmla="*/ 290782 w 330289"/>
                <a:gd name="connsiteY33" fmla="*/ 282002 h 415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30289" h="415628">
                  <a:moveTo>
                    <a:pt x="284110" y="55663"/>
                  </a:moveTo>
                  <a:cubicBezTo>
                    <a:pt x="269535" y="37577"/>
                    <a:pt x="251976" y="23881"/>
                    <a:pt x="231783" y="14223"/>
                  </a:cubicBezTo>
                  <a:cubicBezTo>
                    <a:pt x="211590" y="4741"/>
                    <a:pt x="189289" y="0"/>
                    <a:pt x="164882" y="0"/>
                  </a:cubicBezTo>
                  <a:cubicBezTo>
                    <a:pt x="141001" y="0"/>
                    <a:pt x="118877" y="4741"/>
                    <a:pt x="98508" y="14223"/>
                  </a:cubicBezTo>
                  <a:cubicBezTo>
                    <a:pt x="78139" y="23705"/>
                    <a:pt x="60755" y="37577"/>
                    <a:pt x="46181" y="55663"/>
                  </a:cubicBezTo>
                  <a:cubicBezTo>
                    <a:pt x="31607" y="73749"/>
                    <a:pt x="20194" y="95523"/>
                    <a:pt x="12116" y="120808"/>
                  </a:cubicBezTo>
                  <a:cubicBezTo>
                    <a:pt x="4039" y="146093"/>
                    <a:pt x="0" y="174715"/>
                    <a:pt x="0" y="206322"/>
                  </a:cubicBezTo>
                  <a:cubicBezTo>
                    <a:pt x="0" y="237928"/>
                    <a:pt x="4039" y="266726"/>
                    <a:pt x="12116" y="292362"/>
                  </a:cubicBezTo>
                  <a:cubicBezTo>
                    <a:pt x="20194" y="318174"/>
                    <a:pt x="31607" y="340124"/>
                    <a:pt x="46181" y="358385"/>
                  </a:cubicBezTo>
                  <a:cubicBezTo>
                    <a:pt x="60755" y="376647"/>
                    <a:pt x="78315" y="390694"/>
                    <a:pt x="98508" y="400703"/>
                  </a:cubicBezTo>
                  <a:cubicBezTo>
                    <a:pt x="118701" y="410712"/>
                    <a:pt x="141001" y="415628"/>
                    <a:pt x="164882" y="415628"/>
                  </a:cubicBezTo>
                  <a:cubicBezTo>
                    <a:pt x="189289" y="415628"/>
                    <a:pt x="211590" y="410712"/>
                    <a:pt x="231783" y="400703"/>
                  </a:cubicBezTo>
                  <a:cubicBezTo>
                    <a:pt x="252151" y="390694"/>
                    <a:pt x="269535" y="376647"/>
                    <a:pt x="284110" y="358385"/>
                  </a:cubicBezTo>
                  <a:cubicBezTo>
                    <a:pt x="298683" y="340124"/>
                    <a:pt x="310097" y="318174"/>
                    <a:pt x="318175" y="292362"/>
                  </a:cubicBezTo>
                  <a:cubicBezTo>
                    <a:pt x="326252" y="266550"/>
                    <a:pt x="330290" y="237928"/>
                    <a:pt x="330290" y="206322"/>
                  </a:cubicBezTo>
                  <a:cubicBezTo>
                    <a:pt x="330290" y="174715"/>
                    <a:pt x="326252" y="146093"/>
                    <a:pt x="318175" y="120808"/>
                  </a:cubicBezTo>
                  <a:cubicBezTo>
                    <a:pt x="310097" y="95523"/>
                    <a:pt x="298859" y="73749"/>
                    <a:pt x="284110" y="55663"/>
                  </a:cubicBezTo>
                  <a:close/>
                  <a:moveTo>
                    <a:pt x="290782" y="282002"/>
                  </a:moveTo>
                  <a:cubicBezTo>
                    <a:pt x="284285" y="304478"/>
                    <a:pt x="274978" y="323793"/>
                    <a:pt x="263038" y="339772"/>
                  </a:cubicBezTo>
                  <a:cubicBezTo>
                    <a:pt x="251098" y="355751"/>
                    <a:pt x="236699" y="368218"/>
                    <a:pt x="220193" y="376822"/>
                  </a:cubicBezTo>
                  <a:cubicBezTo>
                    <a:pt x="203512" y="385602"/>
                    <a:pt x="185075" y="389992"/>
                    <a:pt x="164882" y="389992"/>
                  </a:cubicBezTo>
                  <a:cubicBezTo>
                    <a:pt x="144689" y="389992"/>
                    <a:pt x="126076" y="385602"/>
                    <a:pt x="109219" y="376822"/>
                  </a:cubicBezTo>
                  <a:cubicBezTo>
                    <a:pt x="92362" y="368043"/>
                    <a:pt x="78139" y="355751"/>
                    <a:pt x="66374" y="339772"/>
                  </a:cubicBezTo>
                  <a:cubicBezTo>
                    <a:pt x="54610" y="323793"/>
                    <a:pt x="45478" y="304478"/>
                    <a:pt x="38982" y="282002"/>
                  </a:cubicBezTo>
                  <a:cubicBezTo>
                    <a:pt x="32485" y="259526"/>
                    <a:pt x="29324" y="234241"/>
                    <a:pt x="29324" y="206322"/>
                  </a:cubicBezTo>
                  <a:cubicBezTo>
                    <a:pt x="29324" y="178754"/>
                    <a:pt x="32485" y="153819"/>
                    <a:pt x="38982" y="131519"/>
                  </a:cubicBezTo>
                  <a:cubicBezTo>
                    <a:pt x="45478" y="109219"/>
                    <a:pt x="54610" y="90255"/>
                    <a:pt x="66374" y="74627"/>
                  </a:cubicBezTo>
                  <a:cubicBezTo>
                    <a:pt x="78139" y="58999"/>
                    <a:pt x="92362" y="46883"/>
                    <a:pt x="109219" y="38455"/>
                  </a:cubicBezTo>
                  <a:cubicBezTo>
                    <a:pt x="126076" y="29851"/>
                    <a:pt x="144689" y="25637"/>
                    <a:pt x="164882" y="25637"/>
                  </a:cubicBezTo>
                  <a:cubicBezTo>
                    <a:pt x="185075" y="25637"/>
                    <a:pt x="203688" y="29851"/>
                    <a:pt x="220193" y="38455"/>
                  </a:cubicBezTo>
                  <a:cubicBezTo>
                    <a:pt x="236875" y="46883"/>
                    <a:pt x="251098" y="58999"/>
                    <a:pt x="263038" y="74627"/>
                  </a:cubicBezTo>
                  <a:cubicBezTo>
                    <a:pt x="274978" y="90255"/>
                    <a:pt x="284285" y="109219"/>
                    <a:pt x="290782" y="131519"/>
                  </a:cubicBezTo>
                  <a:cubicBezTo>
                    <a:pt x="297279" y="153819"/>
                    <a:pt x="300439" y="178754"/>
                    <a:pt x="300439" y="206322"/>
                  </a:cubicBezTo>
                  <a:cubicBezTo>
                    <a:pt x="300615" y="234241"/>
                    <a:pt x="297279" y="259526"/>
                    <a:pt x="290782" y="282002"/>
                  </a:cubicBezTo>
                  <a:close/>
                </a:path>
              </a:pathLst>
            </a:custGeom>
            <a:solidFill>
              <a:srgbClr val="231B37"/>
            </a:solidFill>
            <a:ln w="17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4" name="Vrije vorm: vorm 23">
              <a:extLst>
                <a:ext uri="{FF2B5EF4-FFF2-40B4-BE49-F238E27FC236}">
                  <a16:creationId xmlns:a16="http://schemas.microsoft.com/office/drawing/2014/main" id="{38A140A9-3933-4F11-9D4C-3F3C5F322A38}"/>
                </a:ext>
              </a:extLst>
            </p:cNvPr>
            <p:cNvSpPr/>
            <p:nvPr/>
          </p:nvSpPr>
          <p:spPr>
            <a:xfrm>
              <a:off x="8288625" y="3225663"/>
              <a:ext cx="270237" cy="408253"/>
            </a:xfrm>
            <a:custGeom>
              <a:avLst/>
              <a:gdLst>
                <a:gd name="connsiteX0" fmla="*/ 243723 w 270237"/>
                <a:gd name="connsiteY0" fmla="*/ 243899 h 408253"/>
                <a:gd name="connsiteX1" fmla="*/ 234592 w 270237"/>
                <a:gd name="connsiteY1" fmla="*/ 310448 h 408253"/>
                <a:gd name="connsiteX2" fmla="*/ 210536 w 270237"/>
                <a:gd name="connsiteY2" fmla="*/ 353117 h 408253"/>
                <a:gd name="connsiteX3" fmla="*/ 175769 w 270237"/>
                <a:gd name="connsiteY3" fmla="*/ 375944 h 408253"/>
                <a:gd name="connsiteX4" fmla="*/ 134153 w 270237"/>
                <a:gd name="connsiteY4" fmla="*/ 382617 h 408253"/>
                <a:gd name="connsiteX5" fmla="*/ 93766 w 270237"/>
                <a:gd name="connsiteY5" fmla="*/ 375944 h 408253"/>
                <a:gd name="connsiteX6" fmla="*/ 60053 w 270237"/>
                <a:gd name="connsiteY6" fmla="*/ 353117 h 408253"/>
                <a:gd name="connsiteX7" fmla="*/ 36699 w 270237"/>
                <a:gd name="connsiteY7" fmla="*/ 310448 h 408253"/>
                <a:gd name="connsiteX8" fmla="*/ 27919 w 270237"/>
                <a:gd name="connsiteY8" fmla="*/ 243899 h 408253"/>
                <a:gd name="connsiteX9" fmla="*/ 27919 w 270237"/>
                <a:gd name="connsiteY9" fmla="*/ 0 h 408253"/>
                <a:gd name="connsiteX10" fmla="*/ 0 w 270237"/>
                <a:gd name="connsiteY10" fmla="*/ 0 h 408253"/>
                <a:gd name="connsiteX11" fmla="*/ 0 w 270237"/>
                <a:gd name="connsiteY11" fmla="*/ 247059 h 408253"/>
                <a:gd name="connsiteX12" fmla="*/ 11238 w 270237"/>
                <a:gd name="connsiteY12" fmla="*/ 325023 h 408253"/>
                <a:gd name="connsiteX13" fmla="*/ 41440 w 270237"/>
                <a:gd name="connsiteY13" fmla="*/ 374540 h 408253"/>
                <a:gd name="connsiteX14" fmla="*/ 84636 w 270237"/>
                <a:gd name="connsiteY14" fmla="*/ 400703 h 408253"/>
                <a:gd name="connsiteX15" fmla="*/ 134504 w 270237"/>
                <a:gd name="connsiteY15" fmla="*/ 408254 h 408253"/>
                <a:gd name="connsiteX16" fmla="*/ 185075 w 270237"/>
                <a:gd name="connsiteY16" fmla="*/ 400703 h 408253"/>
                <a:gd name="connsiteX17" fmla="*/ 228271 w 270237"/>
                <a:gd name="connsiteY17" fmla="*/ 374540 h 408253"/>
                <a:gd name="connsiteX18" fmla="*/ 258648 w 270237"/>
                <a:gd name="connsiteY18" fmla="*/ 325023 h 408253"/>
                <a:gd name="connsiteX19" fmla="*/ 270238 w 270237"/>
                <a:gd name="connsiteY19" fmla="*/ 247059 h 408253"/>
                <a:gd name="connsiteX20" fmla="*/ 270238 w 270237"/>
                <a:gd name="connsiteY20" fmla="*/ 0 h 408253"/>
                <a:gd name="connsiteX21" fmla="*/ 244074 w 270237"/>
                <a:gd name="connsiteY21" fmla="*/ 0 h 408253"/>
                <a:gd name="connsiteX22" fmla="*/ 244074 w 270237"/>
                <a:gd name="connsiteY22" fmla="*/ 243899 h 408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70237" h="408253">
                  <a:moveTo>
                    <a:pt x="243723" y="243899"/>
                  </a:moveTo>
                  <a:cubicBezTo>
                    <a:pt x="243723" y="270589"/>
                    <a:pt x="240738" y="292889"/>
                    <a:pt x="234592" y="310448"/>
                  </a:cubicBezTo>
                  <a:cubicBezTo>
                    <a:pt x="228446" y="328183"/>
                    <a:pt x="220544" y="342231"/>
                    <a:pt x="210536" y="353117"/>
                  </a:cubicBezTo>
                  <a:cubicBezTo>
                    <a:pt x="200527" y="363829"/>
                    <a:pt x="189114" y="371555"/>
                    <a:pt x="175769" y="375944"/>
                  </a:cubicBezTo>
                  <a:cubicBezTo>
                    <a:pt x="162599" y="380334"/>
                    <a:pt x="148727" y="382617"/>
                    <a:pt x="134153" y="382617"/>
                  </a:cubicBezTo>
                  <a:cubicBezTo>
                    <a:pt x="119930" y="382617"/>
                    <a:pt x="106409" y="380334"/>
                    <a:pt x="93766" y="375944"/>
                  </a:cubicBezTo>
                  <a:cubicBezTo>
                    <a:pt x="80949" y="371555"/>
                    <a:pt x="69710" y="363829"/>
                    <a:pt x="60053" y="353117"/>
                  </a:cubicBezTo>
                  <a:cubicBezTo>
                    <a:pt x="50395" y="342406"/>
                    <a:pt x="42494" y="328183"/>
                    <a:pt x="36699" y="310448"/>
                  </a:cubicBezTo>
                  <a:cubicBezTo>
                    <a:pt x="30904" y="292889"/>
                    <a:pt x="27919" y="270589"/>
                    <a:pt x="27919" y="243899"/>
                  </a:cubicBezTo>
                  <a:lnTo>
                    <a:pt x="27919" y="0"/>
                  </a:lnTo>
                  <a:lnTo>
                    <a:pt x="0" y="0"/>
                  </a:lnTo>
                  <a:lnTo>
                    <a:pt x="0" y="247059"/>
                  </a:lnTo>
                  <a:cubicBezTo>
                    <a:pt x="0" y="278315"/>
                    <a:pt x="3687" y="304303"/>
                    <a:pt x="11238" y="325023"/>
                  </a:cubicBezTo>
                  <a:cubicBezTo>
                    <a:pt x="18789" y="345742"/>
                    <a:pt x="28797" y="362248"/>
                    <a:pt x="41440" y="374540"/>
                  </a:cubicBezTo>
                  <a:cubicBezTo>
                    <a:pt x="54083" y="387007"/>
                    <a:pt x="68481" y="395611"/>
                    <a:pt x="84636" y="400703"/>
                  </a:cubicBezTo>
                  <a:cubicBezTo>
                    <a:pt x="100790" y="405795"/>
                    <a:pt x="117472" y="408254"/>
                    <a:pt x="134504" y="408254"/>
                  </a:cubicBezTo>
                  <a:cubicBezTo>
                    <a:pt x="151888" y="408254"/>
                    <a:pt x="168745" y="405795"/>
                    <a:pt x="185075" y="400703"/>
                  </a:cubicBezTo>
                  <a:cubicBezTo>
                    <a:pt x="201229" y="395611"/>
                    <a:pt x="215628" y="386831"/>
                    <a:pt x="228271" y="374540"/>
                  </a:cubicBezTo>
                  <a:cubicBezTo>
                    <a:pt x="240913" y="362248"/>
                    <a:pt x="250922" y="345567"/>
                    <a:pt x="258648" y="325023"/>
                  </a:cubicBezTo>
                  <a:cubicBezTo>
                    <a:pt x="266374" y="304303"/>
                    <a:pt x="270238" y="278315"/>
                    <a:pt x="270238" y="247059"/>
                  </a:cubicBezTo>
                  <a:lnTo>
                    <a:pt x="270238" y="0"/>
                  </a:lnTo>
                  <a:lnTo>
                    <a:pt x="244074" y="0"/>
                  </a:lnTo>
                  <a:lnTo>
                    <a:pt x="244074" y="243899"/>
                  </a:lnTo>
                  <a:close/>
                </a:path>
              </a:pathLst>
            </a:custGeom>
            <a:solidFill>
              <a:srgbClr val="231B37"/>
            </a:solidFill>
            <a:ln w="17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5" name="Vrije vorm: vorm 24">
              <a:extLst>
                <a:ext uri="{FF2B5EF4-FFF2-40B4-BE49-F238E27FC236}">
                  <a16:creationId xmlns:a16="http://schemas.microsoft.com/office/drawing/2014/main" id="{A9E3C6E1-6CB4-4D10-A9EF-6808FE599E3E}"/>
                </a:ext>
              </a:extLst>
            </p:cNvPr>
            <p:cNvSpPr/>
            <p:nvPr/>
          </p:nvSpPr>
          <p:spPr>
            <a:xfrm>
              <a:off x="8681426" y="3225488"/>
              <a:ext cx="246532" cy="401054"/>
            </a:xfrm>
            <a:custGeom>
              <a:avLst/>
              <a:gdLst>
                <a:gd name="connsiteX0" fmla="*/ 236348 w 246532"/>
                <a:gd name="connsiteY0" fmla="*/ 59702 h 401054"/>
                <a:gd name="connsiteX1" fmla="*/ 207727 w 246532"/>
                <a:gd name="connsiteY1" fmla="*/ 24934 h 401054"/>
                <a:gd name="connsiteX2" fmla="*/ 162072 w 246532"/>
                <a:gd name="connsiteY2" fmla="*/ 5795 h 401054"/>
                <a:gd name="connsiteX3" fmla="*/ 100966 w 246532"/>
                <a:gd name="connsiteY3" fmla="*/ 0 h 401054"/>
                <a:gd name="connsiteX4" fmla="*/ 0 w 246532"/>
                <a:gd name="connsiteY4" fmla="*/ 0 h 401054"/>
                <a:gd name="connsiteX5" fmla="*/ 0 w 246532"/>
                <a:gd name="connsiteY5" fmla="*/ 401054 h 401054"/>
                <a:gd name="connsiteX6" fmla="*/ 27919 w 246532"/>
                <a:gd name="connsiteY6" fmla="*/ 401054 h 401054"/>
                <a:gd name="connsiteX7" fmla="*/ 27919 w 246532"/>
                <a:gd name="connsiteY7" fmla="*/ 228798 h 401054"/>
                <a:gd name="connsiteX8" fmla="*/ 103424 w 246532"/>
                <a:gd name="connsiteY8" fmla="*/ 228798 h 401054"/>
                <a:gd name="connsiteX9" fmla="*/ 208780 w 246532"/>
                <a:gd name="connsiteY9" fmla="*/ 199825 h 401054"/>
                <a:gd name="connsiteX10" fmla="*/ 246532 w 246532"/>
                <a:gd name="connsiteY10" fmla="*/ 111853 h 401054"/>
                <a:gd name="connsiteX11" fmla="*/ 236348 w 246532"/>
                <a:gd name="connsiteY11" fmla="*/ 59702 h 401054"/>
                <a:gd name="connsiteX12" fmla="*/ 188060 w 246532"/>
                <a:gd name="connsiteY12" fmla="*/ 183319 h 401054"/>
                <a:gd name="connsiteX13" fmla="*/ 96752 w 246532"/>
                <a:gd name="connsiteY13" fmla="*/ 205268 h 401054"/>
                <a:gd name="connsiteX14" fmla="*/ 27919 w 246532"/>
                <a:gd name="connsiteY14" fmla="*/ 205268 h 401054"/>
                <a:gd name="connsiteX15" fmla="*/ 27919 w 246532"/>
                <a:gd name="connsiteY15" fmla="*/ 23881 h 401054"/>
                <a:gd name="connsiteX16" fmla="*/ 94293 w 246532"/>
                <a:gd name="connsiteY16" fmla="*/ 23881 h 401054"/>
                <a:gd name="connsiteX17" fmla="*/ 187182 w 246532"/>
                <a:gd name="connsiteY17" fmla="*/ 42669 h 401054"/>
                <a:gd name="connsiteX18" fmla="*/ 217911 w 246532"/>
                <a:gd name="connsiteY18" fmla="*/ 112028 h 401054"/>
                <a:gd name="connsiteX19" fmla="*/ 188060 w 246532"/>
                <a:gd name="connsiteY19" fmla="*/ 183319 h 401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46532" h="401054">
                  <a:moveTo>
                    <a:pt x="236348" y="59702"/>
                  </a:moveTo>
                  <a:cubicBezTo>
                    <a:pt x="229676" y="45479"/>
                    <a:pt x="220193" y="33889"/>
                    <a:pt x="207727" y="24934"/>
                  </a:cubicBezTo>
                  <a:cubicBezTo>
                    <a:pt x="195259" y="15979"/>
                    <a:pt x="180158" y="9658"/>
                    <a:pt x="162072" y="5795"/>
                  </a:cubicBezTo>
                  <a:cubicBezTo>
                    <a:pt x="143986" y="1932"/>
                    <a:pt x="123617" y="0"/>
                    <a:pt x="100966" y="0"/>
                  </a:cubicBezTo>
                  <a:lnTo>
                    <a:pt x="0" y="0"/>
                  </a:lnTo>
                  <a:lnTo>
                    <a:pt x="0" y="401054"/>
                  </a:lnTo>
                  <a:lnTo>
                    <a:pt x="27919" y="401054"/>
                  </a:lnTo>
                  <a:lnTo>
                    <a:pt x="27919" y="228798"/>
                  </a:lnTo>
                  <a:lnTo>
                    <a:pt x="103424" y="228798"/>
                  </a:lnTo>
                  <a:cubicBezTo>
                    <a:pt x="148376" y="228798"/>
                    <a:pt x="183495" y="219140"/>
                    <a:pt x="208780" y="199825"/>
                  </a:cubicBezTo>
                  <a:cubicBezTo>
                    <a:pt x="233890" y="180510"/>
                    <a:pt x="246532" y="151186"/>
                    <a:pt x="246532" y="111853"/>
                  </a:cubicBezTo>
                  <a:cubicBezTo>
                    <a:pt x="246357" y="91308"/>
                    <a:pt x="243020" y="73925"/>
                    <a:pt x="236348" y="59702"/>
                  </a:cubicBezTo>
                  <a:close/>
                  <a:moveTo>
                    <a:pt x="188060" y="183319"/>
                  </a:moveTo>
                  <a:cubicBezTo>
                    <a:pt x="168218" y="197893"/>
                    <a:pt x="137665" y="205268"/>
                    <a:pt x="96752" y="205268"/>
                  </a:cubicBezTo>
                  <a:lnTo>
                    <a:pt x="27919" y="205268"/>
                  </a:lnTo>
                  <a:lnTo>
                    <a:pt x="27919" y="23881"/>
                  </a:lnTo>
                  <a:lnTo>
                    <a:pt x="94293" y="23881"/>
                  </a:lnTo>
                  <a:cubicBezTo>
                    <a:pt x="135733" y="23881"/>
                    <a:pt x="166638" y="30202"/>
                    <a:pt x="187182" y="42669"/>
                  </a:cubicBezTo>
                  <a:cubicBezTo>
                    <a:pt x="207727" y="55312"/>
                    <a:pt x="217911" y="78314"/>
                    <a:pt x="217911" y="112028"/>
                  </a:cubicBezTo>
                  <a:cubicBezTo>
                    <a:pt x="217735" y="144864"/>
                    <a:pt x="207902" y="168745"/>
                    <a:pt x="188060" y="183319"/>
                  </a:cubicBezTo>
                  <a:close/>
                </a:path>
              </a:pathLst>
            </a:custGeom>
            <a:solidFill>
              <a:srgbClr val="231B37"/>
            </a:solidFill>
            <a:ln w="17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sp>
        <p:nvSpPr>
          <p:cNvPr id="2" name="Rechthoek 1">
            <a:extLst>
              <a:ext uri="{FF2B5EF4-FFF2-40B4-BE49-F238E27FC236}">
                <a16:creationId xmlns:a16="http://schemas.microsoft.com/office/drawing/2014/main" id="{9F7C2639-5776-4A7B-8340-36DCF74CE92F}"/>
              </a:ext>
            </a:extLst>
          </p:cNvPr>
          <p:cNvSpPr/>
          <p:nvPr userDrawn="1"/>
        </p:nvSpPr>
        <p:spPr>
          <a:xfrm>
            <a:off x="609600" y="6172201"/>
            <a:ext cx="1549400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/>
          </a:p>
        </p:txBody>
      </p:sp>
    </p:spTree>
    <p:extLst>
      <p:ext uri="{BB962C8B-B14F-4D97-AF65-F5344CB8AC3E}">
        <p14:creationId xmlns:p14="http://schemas.microsoft.com/office/powerpoint/2010/main" val="701100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 lines + fixed imag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Tijdelijke aanduiding voor afbeelding 19">
            <a:extLst>
              <a:ext uri="{FF2B5EF4-FFF2-40B4-BE49-F238E27FC236}">
                <a16:creationId xmlns:a16="http://schemas.microsoft.com/office/drawing/2014/main" id="{9610D9E9-4EFF-46EF-B2A8-1EBD27B971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t="1" b="1"/>
          <a:stretch>
            <a:fillRect/>
          </a:stretch>
        </p:blipFill>
        <p:spPr>
          <a:xfrm>
            <a:off x="-5376" y="1434"/>
            <a:ext cx="12202751" cy="6856567"/>
          </a:xfrm>
          <a:prstGeom prst="rect">
            <a:avLst/>
          </a:prstGeom>
        </p:spPr>
      </p:pic>
      <p:sp>
        <p:nvSpPr>
          <p:cNvPr id="21" name="Tijdelijke aanduiding voor tekst 20">
            <a:extLst>
              <a:ext uri="{FF2B5EF4-FFF2-40B4-BE49-F238E27FC236}">
                <a16:creationId xmlns:a16="http://schemas.microsoft.com/office/drawing/2014/main" id="{C7B47E14-EE28-4D74-9432-3201CB7BB0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11113" y="-2"/>
            <a:ext cx="7289277" cy="5387331"/>
          </a:xfrm>
          <a:custGeom>
            <a:avLst/>
            <a:gdLst>
              <a:gd name="connsiteX0" fmla="*/ 0 w 7289277"/>
              <a:gd name="connsiteY0" fmla="*/ 0 h 5387330"/>
              <a:gd name="connsiteX1" fmla="*/ 6049627 w 7289277"/>
              <a:gd name="connsiteY1" fmla="*/ 0 h 5387330"/>
              <a:gd name="connsiteX2" fmla="*/ 6203156 w 7289277"/>
              <a:gd name="connsiteY2" fmla="*/ 266658 h 5387330"/>
              <a:gd name="connsiteX3" fmla="*/ 7228436 w 7289277"/>
              <a:gd name="connsiteY3" fmla="*/ 2919047 h 5387330"/>
              <a:gd name="connsiteX4" fmla="*/ 7289277 w 7289277"/>
              <a:gd name="connsiteY4" fmla="*/ 3190251 h 5387330"/>
              <a:gd name="connsiteX5" fmla="*/ 7289277 w 7289277"/>
              <a:gd name="connsiteY5" fmla="*/ 3321889 h 5387330"/>
              <a:gd name="connsiteX6" fmla="*/ 7265384 w 7289277"/>
              <a:gd name="connsiteY6" fmla="*/ 3384498 h 5387330"/>
              <a:gd name="connsiteX7" fmla="*/ 7124486 w 7289277"/>
              <a:gd name="connsiteY7" fmla="*/ 3486931 h 5387330"/>
              <a:gd name="connsiteX8" fmla="*/ 6836387 w 7289277"/>
              <a:gd name="connsiteY8" fmla="*/ 3557697 h 5387330"/>
              <a:gd name="connsiteX9" fmla="*/ 0 w 7289277"/>
              <a:gd name="connsiteY9" fmla="*/ 5387330 h 5387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289277" h="5387330">
                <a:moveTo>
                  <a:pt x="0" y="0"/>
                </a:moveTo>
                <a:lnTo>
                  <a:pt x="6049627" y="0"/>
                </a:lnTo>
                <a:lnTo>
                  <a:pt x="6203156" y="266658"/>
                </a:lnTo>
                <a:cubicBezTo>
                  <a:pt x="6687932" y="1141334"/>
                  <a:pt x="7028838" y="2027223"/>
                  <a:pt x="7228436" y="2919047"/>
                </a:cubicBezTo>
                <a:lnTo>
                  <a:pt x="7289277" y="3190251"/>
                </a:lnTo>
                <a:lnTo>
                  <a:pt x="7289277" y="3321889"/>
                </a:lnTo>
                <a:lnTo>
                  <a:pt x="7265384" y="3384498"/>
                </a:lnTo>
                <a:cubicBezTo>
                  <a:pt x="7234723" y="3434013"/>
                  <a:pt x="7185399" y="3471961"/>
                  <a:pt x="7124486" y="3486931"/>
                </a:cubicBezTo>
                <a:lnTo>
                  <a:pt x="6836387" y="3557697"/>
                </a:lnTo>
                <a:lnTo>
                  <a:pt x="0" y="538733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5" name="Titel 5">
            <a:extLst>
              <a:ext uri="{FF2B5EF4-FFF2-40B4-BE49-F238E27FC236}">
                <a16:creationId xmlns:a16="http://schemas.microsoft.com/office/drawing/2014/main" id="{20DBEB7A-7FB1-4F46-90EC-A1F387B9FD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9517" y="1298687"/>
            <a:ext cx="5651923" cy="1715496"/>
          </a:xfrm>
        </p:spPr>
        <p:txBody>
          <a:bodyPr/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GB" noProof="0"/>
              <a:t>Template for  a long title</a:t>
            </a:r>
            <a:br>
              <a:rPr lang="en-GB" noProof="0"/>
            </a:br>
            <a:r>
              <a:rPr lang="en-GB" noProof="0"/>
              <a:t>over a maximum of </a:t>
            </a:r>
            <a:br>
              <a:rPr lang="en-GB" noProof="0"/>
            </a:br>
            <a:r>
              <a:rPr lang="en-GB" noProof="0"/>
              <a:t>three lines</a:t>
            </a:r>
            <a:endParaRPr lang="en-GB"/>
          </a:p>
        </p:txBody>
      </p:sp>
      <p:sp>
        <p:nvSpPr>
          <p:cNvPr id="77" name="Tijdelijke aanduiding voor tekst 19">
            <a:extLst>
              <a:ext uri="{FF2B5EF4-FFF2-40B4-BE49-F238E27FC236}">
                <a16:creationId xmlns:a16="http://schemas.microsoft.com/office/drawing/2014/main" id="{D2143D6B-C64D-43A2-A51B-B1C2C57B18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1339" y="899559"/>
            <a:ext cx="1369048" cy="122301"/>
          </a:xfrm>
          <a:prstGeom prst="rect">
            <a:avLst/>
          </a:prstGeom>
          <a:blipFill>
            <a:blip r:embed="rId3"/>
            <a:srcRect/>
            <a:stretch>
              <a:fillRect t="10141" b="7644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79" name="Tijdelijke aanduiding voor dianummer 4">
            <a:extLst>
              <a:ext uri="{FF2B5EF4-FFF2-40B4-BE49-F238E27FC236}">
                <a16:creationId xmlns:a16="http://schemas.microsoft.com/office/drawing/2014/main" id="{664D752E-5E17-41C7-9FCE-81D02456C4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681" y="6274118"/>
            <a:ext cx="44204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80" name="Tijdelijke aanduiding voor verticale tekst 2">
            <a:extLst>
              <a:ext uri="{FF2B5EF4-FFF2-40B4-BE49-F238E27FC236}">
                <a16:creationId xmlns:a16="http://schemas.microsoft.com/office/drawing/2014/main" id="{3BA9F0F5-E032-48FB-BC7C-E4AC7E705651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899789" y="3173320"/>
            <a:ext cx="5661651" cy="267480"/>
          </a:xfrm>
        </p:spPr>
        <p:txBody>
          <a:bodyPr vert="horz" lIns="0" tIns="0" rIns="0" bIns="0"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  <a:lvl2pPr marL="217483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 algn="l"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Name | function</a:t>
            </a:r>
          </a:p>
        </p:txBody>
      </p:sp>
      <p:sp>
        <p:nvSpPr>
          <p:cNvPr id="81" name="Tijdelijke aanduiding voor verticale tekst 2">
            <a:extLst>
              <a:ext uri="{FF2B5EF4-FFF2-40B4-BE49-F238E27FC236}">
                <a16:creationId xmlns:a16="http://schemas.microsoft.com/office/drawing/2014/main" id="{9B8C7582-8AF9-4053-A112-EF4D148DC4FD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899788" y="3599939"/>
            <a:ext cx="1694000" cy="183397"/>
          </a:xfrm>
        </p:spPr>
        <p:txBody>
          <a:bodyPr vert="horz" lIns="0" tIns="0" rIns="0" bIns="0" anchor="ctr"/>
          <a:lstStyle>
            <a:lvl1pPr marL="0" indent="0">
              <a:buNone/>
              <a:defRPr sz="1100">
                <a:solidFill>
                  <a:schemeClr val="accent2"/>
                </a:solidFill>
              </a:defRPr>
            </a:lvl1pPr>
            <a:lvl2pPr marL="217483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Location</a:t>
            </a:r>
          </a:p>
        </p:txBody>
      </p:sp>
      <p:sp>
        <p:nvSpPr>
          <p:cNvPr id="82" name="Tijdelijke aanduiding voor verticale tekst 2">
            <a:extLst>
              <a:ext uri="{FF2B5EF4-FFF2-40B4-BE49-F238E27FC236}">
                <a16:creationId xmlns:a16="http://schemas.microsoft.com/office/drawing/2014/main" id="{9BA97DF8-DCAA-4894-A30F-C3B46812E4EA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99788" y="3794532"/>
            <a:ext cx="1694000" cy="183397"/>
          </a:xfrm>
        </p:spPr>
        <p:txBody>
          <a:bodyPr vert="horz" lIns="0" tIns="0" rIns="0" bIns="0" anchor="ctr"/>
          <a:lstStyle>
            <a:lvl1pPr marL="0" indent="0">
              <a:buNone/>
              <a:defRPr sz="1100">
                <a:solidFill>
                  <a:schemeClr val="accent2"/>
                </a:solidFill>
              </a:defRPr>
            </a:lvl1pPr>
            <a:lvl2pPr marL="217483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862213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 lines + fixed imag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Tijdelijke aanduiding voor afbeelding 19">
            <a:extLst>
              <a:ext uri="{FF2B5EF4-FFF2-40B4-BE49-F238E27FC236}">
                <a16:creationId xmlns:a16="http://schemas.microsoft.com/office/drawing/2014/main" id="{9610D9E9-4EFF-46EF-B2A8-1EBD27B9716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4821" y="1434"/>
            <a:ext cx="12201641" cy="6856567"/>
          </a:xfrm>
          <a:prstGeom prst="rect">
            <a:avLst/>
          </a:prstGeom>
        </p:spPr>
      </p:pic>
      <p:sp>
        <p:nvSpPr>
          <p:cNvPr id="21" name="Tijdelijke aanduiding voor tekst 20">
            <a:extLst>
              <a:ext uri="{FF2B5EF4-FFF2-40B4-BE49-F238E27FC236}">
                <a16:creationId xmlns:a16="http://schemas.microsoft.com/office/drawing/2014/main" id="{C7B47E14-EE28-4D74-9432-3201CB7BB0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11113" y="-2"/>
            <a:ext cx="7289277" cy="5387331"/>
          </a:xfrm>
          <a:custGeom>
            <a:avLst/>
            <a:gdLst>
              <a:gd name="connsiteX0" fmla="*/ 0 w 7289277"/>
              <a:gd name="connsiteY0" fmla="*/ 0 h 5387330"/>
              <a:gd name="connsiteX1" fmla="*/ 6049627 w 7289277"/>
              <a:gd name="connsiteY1" fmla="*/ 0 h 5387330"/>
              <a:gd name="connsiteX2" fmla="*/ 6203156 w 7289277"/>
              <a:gd name="connsiteY2" fmla="*/ 266658 h 5387330"/>
              <a:gd name="connsiteX3" fmla="*/ 7228436 w 7289277"/>
              <a:gd name="connsiteY3" fmla="*/ 2919047 h 5387330"/>
              <a:gd name="connsiteX4" fmla="*/ 7289277 w 7289277"/>
              <a:gd name="connsiteY4" fmla="*/ 3190251 h 5387330"/>
              <a:gd name="connsiteX5" fmla="*/ 7289277 w 7289277"/>
              <a:gd name="connsiteY5" fmla="*/ 3321889 h 5387330"/>
              <a:gd name="connsiteX6" fmla="*/ 7265384 w 7289277"/>
              <a:gd name="connsiteY6" fmla="*/ 3384498 h 5387330"/>
              <a:gd name="connsiteX7" fmla="*/ 7124486 w 7289277"/>
              <a:gd name="connsiteY7" fmla="*/ 3486931 h 5387330"/>
              <a:gd name="connsiteX8" fmla="*/ 6836387 w 7289277"/>
              <a:gd name="connsiteY8" fmla="*/ 3557697 h 5387330"/>
              <a:gd name="connsiteX9" fmla="*/ 0 w 7289277"/>
              <a:gd name="connsiteY9" fmla="*/ 5387330 h 5387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289277" h="5387330">
                <a:moveTo>
                  <a:pt x="0" y="0"/>
                </a:moveTo>
                <a:lnTo>
                  <a:pt x="6049627" y="0"/>
                </a:lnTo>
                <a:lnTo>
                  <a:pt x="6203156" y="266658"/>
                </a:lnTo>
                <a:cubicBezTo>
                  <a:pt x="6687932" y="1141334"/>
                  <a:pt x="7028838" y="2027223"/>
                  <a:pt x="7228436" y="2919047"/>
                </a:cubicBezTo>
                <a:lnTo>
                  <a:pt x="7289277" y="3190251"/>
                </a:lnTo>
                <a:lnTo>
                  <a:pt x="7289277" y="3321889"/>
                </a:lnTo>
                <a:lnTo>
                  <a:pt x="7265384" y="3384498"/>
                </a:lnTo>
                <a:cubicBezTo>
                  <a:pt x="7234723" y="3434013"/>
                  <a:pt x="7185399" y="3471961"/>
                  <a:pt x="7124486" y="3486931"/>
                </a:cubicBezTo>
                <a:lnTo>
                  <a:pt x="6836387" y="3557697"/>
                </a:lnTo>
                <a:lnTo>
                  <a:pt x="0" y="538733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5" name="Titel 5">
            <a:extLst>
              <a:ext uri="{FF2B5EF4-FFF2-40B4-BE49-F238E27FC236}">
                <a16:creationId xmlns:a16="http://schemas.microsoft.com/office/drawing/2014/main" id="{20DBEB7A-7FB1-4F46-90EC-A1F387B9FD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9517" y="1298687"/>
            <a:ext cx="5651923" cy="1715496"/>
          </a:xfrm>
        </p:spPr>
        <p:txBody>
          <a:bodyPr/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GB" noProof="0"/>
              <a:t>Template for  a long title</a:t>
            </a:r>
            <a:br>
              <a:rPr lang="en-GB" noProof="0"/>
            </a:br>
            <a:r>
              <a:rPr lang="en-GB" noProof="0"/>
              <a:t>over a maximum of </a:t>
            </a:r>
            <a:br>
              <a:rPr lang="en-GB" noProof="0"/>
            </a:br>
            <a:r>
              <a:rPr lang="en-GB" noProof="0"/>
              <a:t>three lines</a:t>
            </a:r>
            <a:endParaRPr lang="en-GB"/>
          </a:p>
        </p:txBody>
      </p:sp>
      <p:sp>
        <p:nvSpPr>
          <p:cNvPr id="77" name="Tijdelijke aanduiding voor tekst 19">
            <a:extLst>
              <a:ext uri="{FF2B5EF4-FFF2-40B4-BE49-F238E27FC236}">
                <a16:creationId xmlns:a16="http://schemas.microsoft.com/office/drawing/2014/main" id="{D2143D6B-C64D-43A2-A51B-B1C2C57B18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1339" y="899559"/>
            <a:ext cx="1369048" cy="122301"/>
          </a:xfrm>
          <a:prstGeom prst="rect">
            <a:avLst/>
          </a:prstGeom>
          <a:blipFill>
            <a:blip r:embed="rId3"/>
            <a:srcRect/>
            <a:stretch>
              <a:fillRect t="10141" b="7644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79" name="Tijdelijke aanduiding voor dianummer 4">
            <a:extLst>
              <a:ext uri="{FF2B5EF4-FFF2-40B4-BE49-F238E27FC236}">
                <a16:creationId xmlns:a16="http://schemas.microsoft.com/office/drawing/2014/main" id="{F10E0541-D758-418B-B2C9-D77BD681F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681" y="6274118"/>
            <a:ext cx="44204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80" name="Tijdelijke aanduiding voor verticale tekst 2">
            <a:extLst>
              <a:ext uri="{FF2B5EF4-FFF2-40B4-BE49-F238E27FC236}">
                <a16:creationId xmlns:a16="http://schemas.microsoft.com/office/drawing/2014/main" id="{62541E55-2AD5-45DE-B781-0F07AB8D5DFE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899789" y="3173320"/>
            <a:ext cx="5661651" cy="267480"/>
          </a:xfrm>
        </p:spPr>
        <p:txBody>
          <a:bodyPr vert="horz" lIns="0" tIns="0" rIns="0" bIns="0"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  <a:lvl2pPr marL="217483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 algn="l"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Name | function</a:t>
            </a:r>
          </a:p>
        </p:txBody>
      </p:sp>
      <p:sp>
        <p:nvSpPr>
          <p:cNvPr id="81" name="Tijdelijke aanduiding voor verticale tekst 2">
            <a:extLst>
              <a:ext uri="{FF2B5EF4-FFF2-40B4-BE49-F238E27FC236}">
                <a16:creationId xmlns:a16="http://schemas.microsoft.com/office/drawing/2014/main" id="{3C8AF778-CB5E-4EBE-ABCA-4846D6700BE9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899788" y="3599939"/>
            <a:ext cx="1694000" cy="183397"/>
          </a:xfrm>
        </p:spPr>
        <p:txBody>
          <a:bodyPr vert="horz" lIns="0" tIns="0" rIns="0" bIns="0" anchor="ctr"/>
          <a:lstStyle>
            <a:lvl1pPr marL="0" indent="0">
              <a:buNone/>
              <a:defRPr sz="1100">
                <a:solidFill>
                  <a:schemeClr val="accent2"/>
                </a:solidFill>
              </a:defRPr>
            </a:lvl1pPr>
            <a:lvl2pPr marL="217483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Location</a:t>
            </a:r>
          </a:p>
        </p:txBody>
      </p:sp>
      <p:sp>
        <p:nvSpPr>
          <p:cNvPr id="82" name="Tijdelijke aanduiding voor verticale tekst 2">
            <a:extLst>
              <a:ext uri="{FF2B5EF4-FFF2-40B4-BE49-F238E27FC236}">
                <a16:creationId xmlns:a16="http://schemas.microsoft.com/office/drawing/2014/main" id="{6CFCD676-64D5-4390-9E9E-CB3A1C7795CC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99788" y="3794532"/>
            <a:ext cx="1694000" cy="183397"/>
          </a:xfrm>
        </p:spPr>
        <p:txBody>
          <a:bodyPr vert="horz" lIns="0" tIns="0" rIns="0" bIns="0" anchor="ctr"/>
          <a:lstStyle>
            <a:lvl1pPr marL="0" marR="0" indent="0" algn="l" defTabSz="71912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  <a:tabLst/>
              <a:defRPr sz="1100">
                <a:solidFill>
                  <a:schemeClr val="accent2"/>
                </a:solidFill>
              </a:defRPr>
            </a:lvl1pPr>
            <a:lvl2pPr marL="217483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marL="0" marR="0" lvl="0" indent="0" algn="l" defTabSz="71912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  <a:tabLst/>
              <a:defRPr/>
            </a:pPr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020164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 lines + fixed imag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" name="Tijdelijke aanduiding voor afbeelding 40">
            <a:extLst>
              <a:ext uri="{FF2B5EF4-FFF2-40B4-BE49-F238E27FC236}">
                <a16:creationId xmlns:a16="http://schemas.microsoft.com/office/drawing/2014/main" id="{19B12BD7-27C9-4432-AC7B-5BD6FFFA5E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3792" b="13792"/>
          <a:stretch/>
        </p:blipFill>
        <p:spPr>
          <a:xfrm>
            <a:off x="2" y="1434"/>
            <a:ext cx="12197375" cy="6856567"/>
          </a:xfrm>
          <a:prstGeom prst="rect">
            <a:avLst/>
          </a:prstGeom>
        </p:spPr>
      </p:pic>
      <p:sp>
        <p:nvSpPr>
          <p:cNvPr id="21" name="Tijdelijke aanduiding voor tekst 20">
            <a:extLst>
              <a:ext uri="{FF2B5EF4-FFF2-40B4-BE49-F238E27FC236}">
                <a16:creationId xmlns:a16="http://schemas.microsoft.com/office/drawing/2014/main" id="{C7B47E14-EE28-4D74-9432-3201CB7BB0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11113" y="-2"/>
            <a:ext cx="7289277" cy="5387331"/>
          </a:xfrm>
          <a:custGeom>
            <a:avLst/>
            <a:gdLst>
              <a:gd name="connsiteX0" fmla="*/ 0 w 7289277"/>
              <a:gd name="connsiteY0" fmla="*/ 0 h 5387330"/>
              <a:gd name="connsiteX1" fmla="*/ 6049627 w 7289277"/>
              <a:gd name="connsiteY1" fmla="*/ 0 h 5387330"/>
              <a:gd name="connsiteX2" fmla="*/ 6203156 w 7289277"/>
              <a:gd name="connsiteY2" fmla="*/ 266658 h 5387330"/>
              <a:gd name="connsiteX3" fmla="*/ 7228436 w 7289277"/>
              <a:gd name="connsiteY3" fmla="*/ 2919047 h 5387330"/>
              <a:gd name="connsiteX4" fmla="*/ 7289277 w 7289277"/>
              <a:gd name="connsiteY4" fmla="*/ 3190251 h 5387330"/>
              <a:gd name="connsiteX5" fmla="*/ 7289277 w 7289277"/>
              <a:gd name="connsiteY5" fmla="*/ 3321889 h 5387330"/>
              <a:gd name="connsiteX6" fmla="*/ 7265384 w 7289277"/>
              <a:gd name="connsiteY6" fmla="*/ 3384498 h 5387330"/>
              <a:gd name="connsiteX7" fmla="*/ 7124486 w 7289277"/>
              <a:gd name="connsiteY7" fmla="*/ 3486931 h 5387330"/>
              <a:gd name="connsiteX8" fmla="*/ 6836387 w 7289277"/>
              <a:gd name="connsiteY8" fmla="*/ 3557697 h 5387330"/>
              <a:gd name="connsiteX9" fmla="*/ 0 w 7289277"/>
              <a:gd name="connsiteY9" fmla="*/ 5387330 h 5387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289277" h="5387330">
                <a:moveTo>
                  <a:pt x="0" y="0"/>
                </a:moveTo>
                <a:lnTo>
                  <a:pt x="6049627" y="0"/>
                </a:lnTo>
                <a:lnTo>
                  <a:pt x="6203156" y="266658"/>
                </a:lnTo>
                <a:cubicBezTo>
                  <a:pt x="6687932" y="1141334"/>
                  <a:pt x="7028838" y="2027223"/>
                  <a:pt x="7228436" y="2919047"/>
                </a:cubicBezTo>
                <a:lnTo>
                  <a:pt x="7289277" y="3190251"/>
                </a:lnTo>
                <a:lnTo>
                  <a:pt x="7289277" y="3321889"/>
                </a:lnTo>
                <a:lnTo>
                  <a:pt x="7265384" y="3384498"/>
                </a:lnTo>
                <a:cubicBezTo>
                  <a:pt x="7234723" y="3434013"/>
                  <a:pt x="7185399" y="3471961"/>
                  <a:pt x="7124486" y="3486931"/>
                </a:cubicBezTo>
                <a:lnTo>
                  <a:pt x="6836387" y="3557697"/>
                </a:lnTo>
                <a:lnTo>
                  <a:pt x="0" y="538733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5" name="Titel 5">
            <a:extLst>
              <a:ext uri="{FF2B5EF4-FFF2-40B4-BE49-F238E27FC236}">
                <a16:creationId xmlns:a16="http://schemas.microsoft.com/office/drawing/2014/main" id="{20DBEB7A-7FB1-4F46-90EC-A1F387B9FD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9517" y="1298687"/>
            <a:ext cx="5651923" cy="1715496"/>
          </a:xfrm>
        </p:spPr>
        <p:txBody>
          <a:bodyPr/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GB" noProof="0"/>
              <a:t>Template for  a long title</a:t>
            </a:r>
            <a:br>
              <a:rPr lang="en-GB" noProof="0"/>
            </a:br>
            <a:r>
              <a:rPr lang="en-GB" noProof="0"/>
              <a:t>over a maximum of </a:t>
            </a:r>
            <a:br>
              <a:rPr lang="en-GB" noProof="0"/>
            </a:br>
            <a:r>
              <a:rPr lang="en-GB" noProof="0"/>
              <a:t>three lines</a:t>
            </a:r>
            <a:endParaRPr lang="en-GB"/>
          </a:p>
        </p:txBody>
      </p:sp>
      <p:sp>
        <p:nvSpPr>
          <p:cNvPr id="77" name="Tijdelijke aanduiding voor tekst 19">
            <a:extLst>
              <a:ext uri="{FF2B5EF4-FFF2-40B4-BE49-F238E27FC236}">
                <a16:creationId xmlns:a16="http://schemas.microsoft.com/office/drawing/2014/main" id="{D2143D6B-C64D-43A2-A51B-B1C2C57B18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1339" y="899559"/>
            <a:ext cx="1369048" cy="122301"/>
          </a:xfrm>
          <a:prstGeom prst="rect">
            <a:avLst/>
          </a:prstGeom>
          <a:blipFill>
            <a:blip r:embed="rId3"/>
            <a:srcRect/>
            <a:stretch>
              <a:fillRect t="10141" b="7644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79" name="Tijdelijke aanduiding voor dianummer 4">
            <a:extLst>
              <a:ext uri="{FF2B5EF4-FFF2-40B4-BE49-F238E27FC236}">
                <a16:creationId xmlns:a16="http://schemas.microsoft.com/office/drawing/2014/main" id="{93106274-7129-41B1-A3C5-91ED6CA38C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681" y="6274118"/>
            <a:ext cx="44204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80" name="Tijdelijke aanduiding voor verticale tekst 2">
            <a:extLst>
              <a:ext uri="{FF2B5EF4-FFF2-40B4-BE49-F238E27FC236}">
                <a16:creationId xmlns:a16="http://schemas.microsoft.com/office/drawing/2014/main" id="{F7536D57-A18B-4478-AC12-9EA9B0C05E04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899789" y="3173320"/>
            <a:ext cx="5661651" cy="267480"/>
          </a:xfrm>
        </p:spPr>
        <p:txBody>
          <a:bodyPr vert="horz" lIns="0" tIns="0" rIns="0" bIns="0"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  <a:lvl2pPr marL="217483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 algn="l"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Name | function</a:t>
            </a:r>
          </a:p>
        </p:txBody>
      </p:sp>
      <p:sp>
        <p:nvSpPr>
          <p:cNvPr id="81" name="Tijdelijke aanduiding voor verticale tekst 2">
            <a:extLst>
              <a:ext uri="{FF2B5EF4-FFF2-40B4-BE49-F238E27FC236}">
                <a16:creationId xmlns:a16="http://schemas.microsoft.com/office/drawing/2014/main" id="{FAED61EC-ED44-486A-8650-5777FDEB45BC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899788" y="3599939"/>
            <a:ext cx="1694000" cy="183397"/>
          </a:xfrm>
        </p:spPr>
        <p:txBody>
          <a:bodyPr vert="horz" lIns="0" tIns="0" rIns="0" bIns="0" anchor="ctr"/>
          <a:lstStyle>
            <a:lvl1pPr marL="0" indent="0">
              <a:buNone/>
              <a:defRPr sz="1100">
                <a:solidFill>
                  <a:schemeClr val="accent2"/>
                </a:solidFill>
              </a:defRPr>
            </a:lvl1pPr>
            <a:lvl2pPr marL="217483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Location</a:t>
            </a:r>
          </a:p>
        </p:txBody>
      </p:sp>
      <p:sp>
        <p:nvSpPr>
          <p:cNvPr id="82" name="Tijdelijke aanduiding voor verticale tekst 2">
            <a:extLst>
              <a:ext uri="{FF2B5EF4-FFF2-40B4-BE49-F238E27FC236}">
                <a16:creationId xmlns:a16="http://schemas.microsoft.com/office/drawing/2014/main" id="{1AEAC332-07FC-4E34-8F38-1F235E40D869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99788" y="3794532"/>
            <a:ext cx="1694000" cy="183397"/>
          </a:xfrm>
        </p:spPr>
        <p:txBody>
          <a:bodyPr vert="horz" lIns="0" tIns="0" rIns="0" bIns="0" anchor="ctr"/>
          <a:lstStyle>
            <a:lvl1pPr marL="0" indent="0">
              <a:buNone/>
              <a:defRPr sz="1100">
                <a:solidFill>
                  <a:schemeClr val="accent2"/>
                </a:solidFill>
              </a:defRPr>
            </a:lvl1pPr>
            <a:lvl2pPr marL="217483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79479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ijdelijke aanduiding voor afbeelding 8">
            <a:extLst>
              <a:ext uri="{FF2B5EF4-FFF2-40B4-BE49-F238E27FC236}">
                <a16:creationId xmlns:a16="http://schemas.microsoft.com/office/drawing/2014/main" id="{A8AB96D0-8848-45C3-915C-A276917B390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5376" y="1434"/>
            <a:ext cx="12202751" cy="685656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/>
              <a:t>Click the icon below </a:t>
            </a:r>
            <a:br>
              <a:rPr lang="en-GB"/>
            </a:br>
            <a:r>
              <a:rPr lang="en-GB"/>
              <a:t>to add an image.</a:t>
            </a:r>
            <a:br>
              <a:rPr lang="en-GB"/>
            </a:br>
            <a:br>
              <a:rPr lang="en-GB"/>
            </a:br>
            <a:r>
              <a:rPr lang="en-GB"/>
              <a:t>Need additional help?</a:t>
            </a:r>
            <a:br>
              <a:rPr lang="en-GB"/>
            </a:br>
            <a:r>
              <a:rPr lang="en-GB"/>
              <a:t>To the side of the slides we’ve placed extra</a:t>
            </a:r>
            <a:br>
              <a:rPr lang="en-GB"/>
            </a:br>
            <a:r>
              <a:rPr lang="en-GB"/>
              <a:t> instructions how to process content. </a:t>
            </a:r>
          </a:p>
        </p:txBody>
      </p:sp>
      <p:sp>
        <p:nvSpPr>
          <p:cNvPr id="21" name="Tijdelijke aanduiding voor tekst 20">
            <a:extLst>
              <a:ext uri="{FF2B5EF4-FFF2-40B4-BE49-F238E27FC236}">
                <a16:creationId xmlns:a16="http://schemas.microsoft.com/office/drawing/2014/main" id="{C7B47E14-EE28-4D74-9432-3201CB7BB0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11113" y="-2"/>
            <a:ext cx="7289277" cy="5387331"/>
          </a:xfrm>
          <a:custGeom>
            <a:avLst/>
            <a:gdLst>
              <a:gd name="connsiteX0" fmla="*/ 0 w 7289277"/>
              <a:gd name="connsiteY0" fmla="*/ 0 h 5387330"/>
              <a:gd name="connsiteX1" fmla="*/ 6049627 w 7289277"/>
              <a:gd name="connsiteY1" fmla="*/ 0 h 5387330"/>
              <a:gd name="connsiteX2" fmla="*/ 6203156 w 7289277"/>
              <a:gd name="connsiteY2" fmla="*/ 266658 h 5387330"/>
              <a:gd name="connsiteX3" fmla="*/ 7228436 w 7289277"/>
              <a:gd name="connsiteY3" fmla="*/ 2919047 h 5387330"/>
              <a:gd name="connsiteX4" fmla="*/ 7289277 w 7289277"/>
              <a:gd name="connsiteY4" fmla="*/ 3190251 h 5387330"/>
              <a:gd name="connsiteX5" fmla="*/ 7289277 w 7289277"/>
              <a:gd name="connsiteY5" fmla="*/ 3321889 h 5387330"/>
              <a:gd name="connsiteX6" fmla="*/ 7265384 w 7289277"/>
              <a:gd name="connsiteY6" fmla="*/ 3384498 h 5387330"/>
              <a:gd name="connsiteX7" fmla="*/ 7124486 w 7289277"/>
              <a:gd name="connsiteY7" fmla="*/ 3486931 h 5387330"/>
              <a:gd name="connsiteX8" fmla="*/ 6836387 w 7289277"/>
              <a:gd name="connsiteY8" fmla="*/ 3557697 h 5387330"/>
              <a:gd name="connsiteX9" fmla="*/ 0 w 7289277"/>
              <a:gd name="connsiteY9" fmla="*/ 5387330 h 5387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289277" h="5387330">
                <a:moveTo>
                  <a:pt x="0" y="0"/>
                </a:moveTo>
                <a:lnTo>
                  <a:pt x="6049627" y="0"/>
                </a:lnTo>
                <a:lnTo>
                  <a:pt x="6203156" y="266658"/>
                </a:lnTo>
                <a:cubicBezTo>
                  <a:pt x="6687932" y="1141334"/>
                  <a:pt x="7028838" y="2027223"/>
                  <a:pt x="7228436" y="2919047"/>
                </a:cubicBezTo>
                <a:lnTo>
                  <a:pt x="7289277" y="3190251"/>
                </a:lnTo>
                <a:lnTo>
                  <a:pt x="7289277" y="3321889"/>
                </a:lnTo>
                <a:lnTo>
                  <a:pt x="7265384" y="3384498"/>
                </a:lnTo>
                <a:cubicBezTo>
                  <a:pt x="7234723" y="3434013"/>
                  <a:pt x="7185399" y="3471961"/>
                  <a:pt x="7124486" y="3486931"/>
                </a:cubicBezTo>
                <a:lnTo>
                  <a:pt x="6836387" y="3557697"/>
                </a:lnTo>
                <a:lnTo>
                  <a:pt x="0" y="538733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5" name="Titel 5">
            <a:extLst>
              <a:ext uri="{FF2B5EF4-FFF2-40B4-BE49-F238E27FC236}">
                <a16:creationId xmlns:a16="http://schemas.microsoft.com/office/drawing/2014/main" id="{20DBEB7A-7FB1-4F46-90EC-A1F387B9FD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9517" y="1298687"/>
            <a:ext cx="5651923" cy="1715496"/>
          </a:xfrm>
        </p:spPr>
        <p:txBody>
          <a:bodyPr/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GB" noProof="0"/>
              <a:t>Template for  a long title</a:t>
            </a:r>
            <a:br>
              <a:rPr lang="en-GB" noProof="0"/>
            </a:br>
            <a:r>
              <a:rPr lang="en-GB" noProof="0"/>
              <a:t>over a maximum of </a:t>
            </a:r>
            <a:br>
              <a:rPr lang="en-GB" noProof="0"/>
            </a:br>
            <a:r>
              <a:rPr lang="en-GB" noProof="0"/>
              <a:t>three lines</a:t>
            </a:r>
            <a:endParaRPr lang="en-GB"/>
          </a:p>
        </p:txBody>
      </p:sp>
      <p:sp>
        <p:nvSpPr>
          <p:cNvPr id="77" name="Tijdelijke aanduiding voor tekst 19">
            <a:extLst>
              <a:ext uri="{FF2B5EF4-FFF2-40B4-BE49-F238E27FC236}">
                <a16:creationId xmlns:a16="http://schemas.microsoft.com/office/drawing/2014/main" id="{D2143D6B-C64D-43A2-A51B-B1C2C57B18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1339" y="899559"/>
            <a:ext cx="1369048" cy="122301"/>
          </a:xfrm>
          <a:prstGeom prst="rect">
            <a:avLst/>
          </a:prstGeom>
          <a:blipFill>
            <a:blip r:embed="rId2"/>
            <a:srcRect/>
            <a:stretch>
              <a:fillRect t="10141" b="7644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78" name="Tijdelijke aanduiding voor dianummer 4">
            <a:extLst>
              <a:ext uri="{FF2B5EF4-FFF2-40B4-BE49-F238E27FC236}">
                <a16:creationId xmlns:a16="http://schemas.microsoft.com/office/drawing/2014/main" id="{9B3D841A-F53B-4089-8C5F-8E2CBE79E5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681" y="6274118"/>
            <a:ext cx="44204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79" name="Tijdelijke aanduiding voor verticale tekst 2">
            <a:extLst>
              <a:ext uri="{FF2B5EF4-FFF2-40B4-BE49-F238E27FC236}">
                <a16:creationId xmlns:a16="http://schemas.microsoft.com/office/drawing/2014/main" id="{63F012EF-3F75-4412-9958-D5864FA2D74B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899789" y="3173320"/>
            <a:ext cx="5661651" cy="267480"/>
          </a:xfrm>
        </p:spPr>
        <p:txBody>
          <a:bodyPr vert="horz" lIns="0" tIns="0" rIns="0" bIns="0"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  <a:lvl2pPr marL="217483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 algn="l"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Name | function</a:t>
            </a:r>
          </a:p>
        </p:txBody>
      </p:sp>
      <p:sp>
        <p:nvSpPr>
          <p:cNvPr id="80" name="Tijdelijke aanduiding voor verticale tekst 2">
            <a:extLst>
              <a:ext uri="{FF2B5EF4-FFF2-40B4-BE49-F238E27FC236}">
                <a16:creationId xmlns:a16="http://schemas.microsoft.com/office/drawing/2014/main" id="{85267F2A-8DB0-4787-B53A-19ABD155495A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899788" y="3599939"/>
            <a:ext cx="1694000" cy="183397"/>
          </a:xfrm>
        </p:spPr>
        <p:txBody>
          <a:bodyPr vert="horz" lIns="0" tIns="0" rIns="0" bIns="0" anchor="ctr"/>
          <a:lstStyle>
            <a:lvl1pPr marL="0" indent="0">
              <a:buNone/>
              <a:defRPr sz="1100">
                <a:solidFill>
                  <a:schemeClr val="accent2"/>
                </a:solidFill>
              </a:defRPr>
            </a:lvl1pPr>
            <a:lvl2pPr marL="217483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Location</a:t>
            </a:r>
          </a:p>
        </p:txBody>
      </p:sp>
      <p:sp>
        <p:nvSpPr>
          <p:cNvPr id="81" name="Tijdelijke aanduiding voor verticale tekst 2">
            <a:extLst>
              <a:ext uri="{FF2B5EF4-FFF2-40B4-BE49-F238E27FC236}">
                <a16:creationId xmlns:a16="http://schemas.microsoft.com/office/drawing/2014/main" id="{F6A41549-579D-407E-BE8B-FC01F69FAF47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99788" y="3794532"/>
            <a:ext cx="1694000" cy="183397"/>
          </a:xfrm>
        </p:spPr>
        <p:txBody>
          <a:bodyPr vert="horz" lIns="0" tIns="0" rIns="0" bIns="0" anchor="ctr"/>
          <a:lstStyle>
            <a:lvl1pPr marL="0" marR="0" indent="0" algn="l" defTabSz="71912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  <a:tabLst/>
              <a:defRPr sz="1100">
                <a:solidFill>
                  <a:schemeClr val="accent2"/>
                </a:solidFill>
              </a:defRPr>
            </a:lvl1pPr>
            <a:lvl2pPr marL="217483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marL="0" marR="0" lvl="0" indent="0" algn="l" defTabSz="71912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  <a:tabLst/>
              <a:defRPr/>
            </a:pPr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239929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ic intro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ijdelijke aanduiding voor afbeelding 8">
            <a:extLst>
              <a:ext uri="{FF2B5EF4-FFF2-40B4-BE49-F238E27FC236}">
                <a16:creationId xmlns:a16="http://schemas.microsoft.com/office/drawing/2014/main" id="{A8AB96D0-8848-45C3-915C-A276917B390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369733" y="1434"/>
            <a:ext cx="8827643" cy="685656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/>
              <a:t>Click the icon below </a:t>
            </a:r>
            <a:br>
              <a:rPr lang="en-GB"/>
            </a:br>
            <a:r>
              <a:rPr lang="en-GB"/>
              <a:t>to add an image.</a:t>
            </a:r>
            <a:br>
              <a:rPr lang="en-GB"/>
            </a:br>
            <a:br>
              <a:rPr lang="en-GB"/>
            </a:br>
            <a:r>
              <a:rPr lang="en-GB"/>
              <a:t>Need additional help?</a:t>
            </a:r>
            <a:br>
              <a:rPr lang="en-GB"/>
            </a:br>
            <a:r>
              <a:rPr lang="en-GB"/>
              <a:t>To the side of the slides we’ve placed extra</a:t>
            </a:r>
            <a:br>
              <a:rPr lang="en-GB"/>
            </a:br>
            <a:r>
              <a:rPr lang="en-GB"/>
              <a:t> instructions how to process content. </a:t>
            </a:r>
          </a:p>
        </p:txBody>
      </p:sp>
      <p:sp>
        <p:nvSpPr>
          <p:cNvPr id="22" name="Tijdelijke aanduiding voor tekst 21">
            <a:extLst>
              <a:ext uri="{FF2B5EF4-FFF2-40B4-BE49-F238E27FC236}">
                <a16:creationId xmlns:a16="http://schemas.microsoft.com/office/drawing/2014/main" id="{B53C83A6-7A3C-48D6-B5CB-AB03B11D59E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11113" y="-1"/>
            <a:ext cx="8274855" cy="6856567"/>
          </a:xfrm>
          <a:custGeom>
            <a:avLst/>
            <a:gdLst>
              <a:gd name="connsiteX0" fmla="*/ 0 w 8274855"/>
              <a:gd name="connsiteY0" fmla="*/ 0 h 6856566"/>
              <a:gd name="connsiteX1" fmla="*/ 5319198 w 8274855"/>
              <a:gd name="connsiteY1" fmla="*/ 0 h 6856566"/>
              <a:gd name="connsiteX2" fmla="*/ 5449995 w 8274855"/>
              <a:gd name="connsiteY2" fmla="*/ 95859 h 6856566"/>
              <a:gd name="connsiteX3" fmla="*/ 8030815 w 8274855"/>
              <a:gd name="connsiteY3" fmla="*/ 2753194 h 6856566"/>
              <a:gd name="connsiteX4" fmla="*/ 8227755 w 8274855"/>
              <a:gd name="connsiteY4" fmla="*/ 3038206 h 6856566"/>
              <a:gd name="connsiteX5" fmla="*/ 8164767 w 8274855"/>
              <a:gd name="connsiteY5" fmla="*/ 3404208 h 6856566"/>
              <a:gd name="connsiteX6" fmla="*/ 7887758 w 8274855"/>
              <a:gd name="connsiteY6" fmla="*/ 3603996 h 6856566"/>
              <a:gd name="connsiteX7" fmla="*/ 3568790 w 8274855"/>
              <a:gd name="connsiteY7" fmla="*/ 6856566 h 6856566"/>
              <a:gd name="connsiteX8" fmla="*/ 0 w 8274855"/>
              <a:gd name="connsiteY8" fmla="*/ 6856566 h 6856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274855" h="6856566">
                <a:moveTo>
                  <a:pt x="0" y="0"/>
                </a:moveTo>
                <a:lnTo>
                  <a:pt x="5319198" y="0"/>
                </a:lnTo>
                <a:lnTo>
                  <a:pt x="5449995" y="95859"/>
                </a:lnTo>
                <a:cubicBezTo>
                  <a:pt x="6498368" y="890092"/>
                  <a:pt x="7358424" y="1779069"/>
                  <a:pt x="8030815" y="2753194"/>
                </a:cubicBezTo>
                <a:lnTo>
                  <a:pt x="8227755" y="3038206"/>
                </a:lnTo>
                <a:cubicBezTo>
                  <a:pt x="8309904" y="3157091"/>
                  <a:pt x="8281899" y="3319709"/>
                  <a:pt x="8164767" y="3404208"/>
                </a:cubicBezTo>
                <a:lnTo>
                  <a:pt x="7887758" y="3603996"/>
                </a:lnTo>
                <a:lnTo>
                  <a:pt x="3568790" y="6856566"/>
                </a:lnTo>
                <a:lnTo>
                  <a:pt x="0" y="685656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5" name="Titel 5">
            <a:extLst>
              <a:ext uri="{FF2B5EF4-FFF2-40B4-BE49-F238E27FC236}">
                <a16:creationId xmlns:a16="http://schemas.microsoft.com/office/drawing/2014/main" id="{20DBEB7A-7FB1-4F46-90EC-A1F387B9FD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9517" y="1600723"/>
            <a:ext cx="5898787" cy="1530061"/>
          </a:xfrm>
        </p:spPr>
        <p:txBody>
          <a:bodyPr/>
          <a:lstStyle>
            <a:lvl1pPr>
              <a:lnSpc>
                <a:spcPct val="100000"/>
              </a:lnSpc>
              <a:defRPr sz="4400" b="0">
                <a:solidFill>
                  <a:schemeClr val="accent2"/>
                </a:solidFill>
              </a:defRPr>
            </a:lvl1pPr>
          </a:lstStyle>
          <a:p>
            <a:r>
              <a:rPr lang="en-GB" noProof="0"/>
              <a:t>Template for  </a:t>
            </a:r>
            <a:br>
              <a:rPr lang="en-GB" noProof="0"/>
            </a:br>
            <a:r>
              <a:rPr lang="en-GB" noProof="0"/>
              <a:t>a two line topic intro</a:t>
            </a:r>
            <a:endParaRPr lang="en-GB"/>
          </a:p>
        </p:txBody>
      </p:sp>
      <p:sp>
        <p:nvSpPr>
          <p:cNvPr id="29" name="Tijdelijke aanduiding voor verticale tekst 2">
            <a:extLst>
              <a:ext uri="{FF2B5EF4-FFF2-40B4-BE49-F238E27FC236}">
                <a16:creationId xmlns:a16="http://schemas.microsoft.com/office/drawing/2014/main" id="{073276D7-D0DE-47ED-A310-B2D461F964CB}"/>
              </a:ext>
            </a:extLst>
          </p:cNvPr>
          <p:cNvSpPr>
            <a:spLocks noGrp="1"/>
          </p:cNvSpPr>
          <p:nvPr>
            <p:ph type="body" orient="vert" idx="23" hasCustomPrompt="1"/>
          </p:nvPr>
        </p:nvSpPr>
        <p:spPr>
          <a:xfrm>
            <a:off x="909519" y="907279"/>
            <a:ext cx="949099" cy="693443"/>
          </a:xfrm>
        </p:spPr>
        <p:txBody>
          <a:bodyPr vert="horz" lIns="0" tIns="0" rIns="0" bIns="0"/>
          <a:lstStyle>
            <a:lvl1pPr marL="0" indent="0">
              <a:buNone/>
              <a:defRPr sz="4800" b="1">
                <a:solidFill>
                  <a:schemeClr val="accent2"/>
                </a:solidFill>
              </a:defRPr>
            </a:lvl1pPr>
            <a:lvl2pPr marL="217483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1.0</a:t>
            </a:r>
          </a:p>
        </p:txBody>
      </p:sp>
      <p:sp>
        <p:nvSpPr>
          <p:cNvPr id="32" name="Tijdelijke aanduiding voor tekst 19">
            <a:extLst>
              <a:ext uri="{FF2B5EF4-FFF2-40B4-BE49-F238E27FC236}">
                <a16:creationId xmlns:a16="http://schemas.microsoft.com/office/drawing/2014/main" id="{FF71B9C6-4D17-4573-B6E0-2C28832A480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6836" y="6421632"/>
            <a:ext cx="1355493" cy="118704"/>
          </a:xfrm>
          <a:prstGeom prst="rect">
            <a:avLst/>
          </a:prstGeom>
          <a:blipFill>
            <a:blip r:embed="rId2"/>
            <a:srcRect/>
            <a:stretch>
              <a:fillRect t="10141" b="7644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83" name="Tijdelijke aanduiding voor dianummer 4">
            <a:extLst>
              <a:ext uri="{FF2B5EF4-FFF2-40B4-BE49-F238E27FC236}">
                <a16:creationId xmlns:a16="http://schemas.microsoft.com/office/drawing/2014/main" id="{F365B660-2898-4554-A3B4-63CEDFF47F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681" y="6274118"/>
            <a:ext cx="44204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9542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ic intro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ijdelijke aanduiding voor afbeelding 8">
            <a:extLst>
              <a:ext uri="{FF2B5EF4-FFF2-40B4-BE49-F238E27FC236}">
                <a16:creationId xmlns:a16="http://schemas.microsoft.com/office/drawing/2014/main" id="{A8AB96D0-8848-45C3-915C-A276917B390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72362" y="1434"/>
            <a:ext cx="7525015" cy="685656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/>
              <a:t>Click the icon below </a:t>
            </a:r>
            <a:br>
              <a:rPr lang="en-GB"/>
            </a:br>
            <a:r>
              <a:rPr lang="en-GB"/>
              <a:t>to add an image.</a:t>
            </a:r>
            <a:br>
              <a:rPr lang="en-GB"/>
            </a:br>
            <a:br>
              <a:rPr lang="en-GB"/>
            </a:br>
            <a:r>
              <a:rPr lang="en-GB"/>
              <a:t>Need additional help?</a:t>
            </a:r>
            <a:br>
              <a:rPr lang="en-GB"/>
            </a:br>
            <a:r>
              <a:rPr lang="en-GB"/>
              <a:t>To the side of the slides we’ve placed extra</a:t>
            </a:r>
            <a:br>
              <a:rPr lang="en-GB"/>
            </a:br>
            <a:r>
              <a:rPr lang="en-GB"/>
              <a:t> instructions how to process content. </a:t>
            </a:r>
          </a:p>
        </p:txBody>
      </p:sp>
      <p:sp>
        <p:nvSpPr>
          <p:cNvPr id="30" name="Tijdelijke aanduiding voor tekst 29">
            <a:extLst>
              <a:ext uri="{FF2B5EF4-FFF2-40B4-BE49-F238E27FC236}">
                <a16:creationId xmlns:a16="http://schemas.microsoft.com/office/drawing/2014/main" id="{28DEA8B3-8E2E-4DD4-BFB4-8322FEF344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11114" y="-1"/>
            <a:ext cx="7178551" cy="6858001"/>
          </a:xfrm>
          <a:custGeom>
            <a:avLst/>
            <a:gdLst>
              <a:gd name="connsiteX0" fmla="*/ 0 w 7178550"/>
              <a:gd name="connsiteY0" fmla="*/ 0 h 6858001"/>
              <a:gd name="connsiteX1" fmla="*/ 4711447 w 7178550"/>
              <a:gd name="connsiteY1" fmla="*/ 0 h 6858001"/>
              <a:gd name="connsiteX2" fmla="*/ 7071235 w 7178550"/>
              <a:gd name="connsiteY2" fmla="*/ 1592714 h 6858001"/>
              <a:gd name="connsiteX3" fmla="*/ 7176909 w 7178550"/>
              <a:gd name="connsiteY3" fmla="*/ 1822956 h 6858001"/>
              <a:gd name="connsiteX4" fmla="*/ 6584537 w 7178550"/>
              <a:gd name="connsiteY4" fmla="*/ 6856566 h 6858001"/>
              <a:gd name="connsiteX5" fmla="*/ 2721595 w 7178550"/>
              <a:gd name="connsiteY5" fmla="*/ 6856566 h 6858001"/>
              <a:gd name="connsiteX6" fmla="*/ 2721595 w 7178550"/>
              <a:gd name="connsiteY6" fmla="*/ 6858001 h 6858001"/>
              <a:gd name="connsiteX7" fmla="*/ 0 w 7178550"/>
              <a:gd name="connsiteY7" fmla="*/ 6858001 h 6858001"/>
              <a:gd name="connsiteX8" fmla="*/ 0 w 7178550"/>
              <a:gd name="connsiteY8" fmla="*/ 6681890 h 6858001"/>
              <a:gd name="connsiteX9" fmla="*/ 0 w 7178550"/>
              <a:gd name="connsiteY9" fmla="*/ 585439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78550" h="6858001">
                <a:moveTo>
                  <a:pt x="0" y="0"/>
                </a:moveTo>
                <a:lnTo>
                  <a:pt x="4711447" y="0"/>
                </a:lnTo>
                <a:lnTo>
                  <a:pt x="7071235" y="1592714"/>
                </a:lnTo>
                <a:cubicBezTo>
                  <a:pt x="7146780" y="1643697"/>
                  <a:pt x="7187432" y="1732515"/>
                  <a:pt x="7176909" y="1822956"/>
                </a:cubicBezTo>
                <a:lnTo>
                  <a:pt x="6584537" y="6856566"/>
                </a:lnTo>
                <a:lnTo>
                  <a:pt x="2721595" y="6856566"/>
                </a:lnTo>
                <a:lnTo>
                  <a:pt x="2721595" y="6858001"/>
                </a:lnTo>
                <a:lnTo>
                  <a:pt x="0" y="6858001"/>
                </a:lnTo>
                <a:lnTo>
                  <a:pt x="0" y="6681890"/>
                </a:lnTo>
                <a:lnTo>
                  <a:pt x="0" y="5854391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5" name="Titel 5">
            <a:extLst>
              <a:ext uri="{FF2B5EF4-FFF2-40B4-BE49-F238E27FC236}">
                <a16:creationId xmlns:a16="http://schemas.microsoft.com/office/drawing/2014/main" id="{20DBEB7A-7FB1-4F46-90EC-A1F387B9FD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9517" y="1600723"/>
            <a:ext cx="5898787" cy="2186711"/>
          </a:xfrm>
        </p:spPr>
        <p:txBody>
          <a:bodyPr/>
          <a:lstStyle>
            <a:lvl1pPr>
              <a:lnSpc>
                <a:spcPct val="100000"/>
              </a:lnSpc>
              <a:defRPr sz="4000" b="0">
                <a:solidFill>
                  <a:schemeClr val="accent2"/>
                </a:solidFill>
              </a:defRPr>
            </a:lvl1pPr>
          </a:lstStyle>
          <a:p>
            <a:r>
              <a:rPr lang="en-GB" noProof="0"/>
              <a:t>Template for  </a:t>
            </a:r>
            <a:br>
              <a:rPr lang="en-GB" noProof="0"/>
            </a:br>
            <a:r>
              <a:rPr lang="en-GB" noProof="0"/>
              <a:t>a three line topic </a:t>
            </a:r>
            <a:br>
              <a:rPr lang="en-GB" noProof="0"/>
            </a:br>
            <a:r>
              <a:rPr lang="en-GB" noProof="0"/>
              <a:t>intro</a:t>
            </a:r>
            <a:endParaRPr lang="en-GB"/>
          </a:p>
        </p:txBody>
      </p:sp>
      <p:sp>
        <p:nvSpPr>
          <p:cNvPr id="29" name="Tijdelijke aanduiding voor verticale tekst 2">
            <a:extLst>
              <a:ext uri="{FF2B5EF4-FFF2-40B4-BE49-F238E27FC236}">
                <a16:creationId xmlns:a16="http://schemas.microsoft.com/office/drawing/2014/main" id="{073276D7-D0DE-47ED-A310-B2D461F964CB}"/>
              </a:ext>
            </a:extLst>
          </p:cNvPr>
          <p:cNvSpPr>
            <a:spLocks noGrp="1"/>
          </p:cNvSpPr>
          <p:nvPr>
            <p:ph type="body" orient="vert" idx="23" hasCustomPrompt="1"/>
          </p:nvPr>
        </p:nvSpPr>
        <p:spPr>
          <a:xfrm>
            <a:off x="909519" y="907279"/>
            <a:ext cx="949099" cy="693443"/>
          </a:xfrm>
        </p:spPr>
        <p:txBody>
          <a:bodyPr vert="horz" lIns="0" tIns="0" rIns="0" bIns="0"/>
          <a:lstStyle>
            <a:lvl1pPr marL="0" indent="0">
              <a:buNone/>
              <a:defRPr sz="4000" b="1">
                <a:solidFill>
                  <a:schemeClr val="accent2"/>
                </a:solidFill>
              </a:defRPr>
            </a:lvl1pPr>
            <a:lvl2pPr marL="217483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2.0</a:t>
            </a:r>
          </a:p>
        </p:txBody>
      </p:sp>
      <p:sp>
        <p:nvSpPr>
          <p:cNvPr id="33" name="Tijdelijke aanduiding voor tekst 19">
            <a:extLst>
              <a:ext uri="{FF2B5EF4-FFF2-40B4-BE49-F238E27FC236}">
                <a16:creationId xmlns:a16="http://schemas.microsoft.com/office/drawing/2014/main" id="{6C55987F-5DD0-48A2-9276-5F7114387E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6836" y="6421632"/>
            <a:ext cx="1355493" cy="118704"/>
          </a:xfrm>
          <a:prstGeom prst="rect">
            <a:avLst/>
          </a:prstGeom>
          <a:blipFill>
            <a:blip r:embed="rId2"/>
            <a:srcRect/>
            <a:stretch>
              <a:fillRect t="10141" b="7644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83" name="Tijdelijke aanduiding voor dianummer 4">
            <a:extLst>
              <a:ext uri="{FF2B5EF4-FFF2-40B4-BE49-F238E27FC236}">
                <a16:creationId xmlns:a16="http://schemas.microsoft.com/office/drawing/2014/main" id="{80BEE76C-94E2-4227-9C19-179BFFAA1E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681" y="6274118"/>
            <a:ext cx="44204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6455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ic intro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ijdelijke aanduiding voor afbeelding 8">
            <a:extLst>
              <a:ext uri="{FF2B5EF4-FFF2-40B4-BE49-F238E27FC236}">
                <a16:creationId xmlns:a16="http://schemas.microsoft.com/office/drawing/2014/main" id="{A8AB96D0-8848-45C3-915C-A276917B390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67201" y="1434"/>
            <a:ext cx="7930175" cy="685656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/>
              <a:t>Click the icon below </a:t>
            </a:r>
            <a:br>
              <a:rPr lang="en-GB"/>
            </a:br>
            <a:r>
              <a:rPr lang="en-GB"/>
              <a:t>to add an image.</a:t>
            </a:r>
            <a:br>
              <a:rPr lang="en-GB"/>
            </a:br>
            <a:br>
              <a:rPr lang="en-GB"/>
            </a:br>
            <a:r>
              <a:rPr lang="en-GB"/>
              <a:t>Need additional help?</a:t>
            </a:r>
            <a:br>
              <a:rPr lang="en-GB"/>
            </a:br>
            <a:r>
              <a:rPr lang="en-GB"/>
              <a:t>To the side of the slides we’ve placed extra</a:t>
            </a:r>
            <a:br>
              <a:rPr lang="en-GB"/>
            </a:br>
            <a:r>
              <a:rPr lang="en-GB"/>
              <a:t> instructions how to process content. </a:t>
            </a:r>
          </a:p>
        </p:txBody>
      </p:sp>
      <p:sp>
        <p:nvSpPr>
          <p:cNvPr id="22" name="Tijdelijke aanduiding voor tekst 21">
            <a:extLst>
              <a:ext uri="{FF2B5EF4-FFF2-40B4-BE49-F238E27FC236}">
                <a16:creationId xmlns:a16="http://schemas.microsoft.com/office/drawing/2014/main" id="{5A660C37-7D25-40DE-8850-F6E75C0B8A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11113" y="-1"/>
            <a:ext cx="7705441" cy="6858001"/>
          </a:xfrm>
          <a:custGeom>
            <a:avLst/>
            <a:gdLst>
              <a:gd name="connsiteX0" fmla="*/ 0 w 7705441"/>
              <a:gd name="connsiteY0" fmla="*/ 0 h 6858001"/>
              <a:gd name="connsiteX1" fmla="*/ 1323008 w 7705441"/>
              <a:gd name="connsiteY1" fmla="*/ 0 h 6858001"/>
              <a:gd name="connsiteX2" fmla="*/ 1869730 w 7705441"/>
              <a:gd name="connsiteY2" fmla="*/ 0 h 6858001"/>
              <a:gd name="connsiteX3" fmla="*/ 4331973 w 7705441"/>
              <a:gd name="connsiteY3" fmla="*/ 0 h 6858001"/>
              <a:gd name="connsiteX4" fmla="*/ 7593557 w 7705441"/>
              <a:gd name="connsiteY4" fmla="*/ 2094855 h 6858001"/>
              <a:gd name="connsiteX5" fmla="*/ 7666832 w 7705441"/>
              <a:gd name="connsiteY5" fmla="*/ 2431265 h 6858001"/>
              <a:gd name="connsiteX6" fmla="*/ 4824195 w 7705441"/>
              <a:gd name="connsiteY6" fmla="*/ 6858001 h 6858001"/>
              <a:gd name="connsiteX7" fmla="*/ 0 w 7705441"/>
              <a:gd name="connsiteY7" fmla="*/ 6858001 h 6858001"/>
              <a:gd name="connsiteX8" fmla="*/ 0 w 7705441"/>
              <a:gd name="connsiteY8" fmla="*/ 1752601 h 6858001"/>
              <a:gd name="connsiteX9" fmla="*/ 0 w 7705441"/>
              <a:gd name="connsiteY9" fmla="*/ 763316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705441" h="6858001">
                <a:moveTo>
                  <a:pt x="0" y="0"/>
                </a:moveTo>
                <a:lnTo>
                  <a:pt x="1323008" y="0"/>
                </a:lnTo>
                <a:lnTo>
                  <a:pt x="1869730" y="0"/>
                </a:lnTo>
                <a:lnTo>
                  <a:pt x="4331973" y="0"/>
                </a:lnTo>
                <a:lnTo>
                  <a:pt x="7593557" y="2094855"/>
                </a:lnTo>
                <a:cubicBezTo>
                  <a:pt x="7706642" y="2167470"/>
                  <a:pt x="7739447" y="2318181"/>
                  <a:pt x="7666832" y="2431265"/>
                </a:cubicBezTo>
                <a:lnTo>
                  <a:pt x="4824195" y="6858001"/>
                </a:lnTo>
                <a:lnTo>
                  <a:pt x="0" y="6858001"/>
                </a:lnTo>
                <a:lnTo>
                  <a:pt x="0" y="1752601"/>
                </a:lnTo>
                <a:lnTo>
                  <a:pt x="0" y="7633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5" name="Titel 5">
            <a:extLst>
              <a:ext uri="{FF2B5EF4-FFF2-40B4-BE49-F238E27FC236}">
                <a16:creationId xmlns:a16="http://schemas.microsoft.com/office/drawing/2014/main" id="{20DBEB7A-7FB1-4F46-90EC-A1F387B9FD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9517" y="1600723"/>
            <a:ext cx="5898787" cy="2186711"/>
          </a:xfrm>
        </p:spPr>
        <p:txBody>
          <a:bodyPr/>
          <a:lstStyle>
            <a:lvl1pPr>
              <a:lnSpc>
                <a:spcPct val="100000"/>
              </a:lnSpc>
              <a:defRPr sz="4000" b="0" i="0">
                <a:solidFill>
                  <a:schemeClr val="accent2"/>
                </a:solidFill>
              </a:defRPr>
            </a:lvl1pPr>
          </a:lstStyle>
          <a:p>
            <a:r>
              <a:rPr lang="en-GB" noProof="0"/>
              <a:t>Template for  </a:t>
            </a:r>
            <a:br>
              <a:rPr lang="en-GB" noProof="0"/>
            </a:br>
            <a:r>
              <a:rPr lang="en-GB" noProof="0"/>
              <a:t>a three line topic </a:t>
            </a:r>
            <a:br>
              <a:rPr lang="en-GB" noProof="0"/>
            </a:br>
            <a:r>
              <a:rPr lang="en-GB" noProof="0" err="1"/>
              <a:t>introsheet</a:t>
            </a:r>
            <a:endParaRPr lang="en-GB"/>
          </a:p>
        </p:txBody>
      </p:sp>
      <p:sp>
        <p:nvSpPr>
          <p:cNvPr id="29" name="Tijdelijke aanduiding voor verticale tekst 2">
            <a:extLst>
              <a:ext uri="{FF2B5EF4-FFF2-40B4-BE49-F238E27FC236}">
                <a16:creationId xmlns:a16="http://schemas.microsoft.com/office/drawing/2014/main" id="{073276D7-D0DE-47ED-A310-B2D461F964CB}"/>
              </a:ext>
            </a:extLst>
          </p:cNvPr>
          <p:cNvSpPr>
            <a:spLocks noGrp="1"/>
          </p:cNvSpPr>
          <p:nvPr>
            <p:ph type="body" orient="vert" idx="23" hasCustomPrompt="1"/>
          </p:nvPr>
        </p:nvSpPr>
        <p:spPr>
          <a:xfrm>
            <a:off x="909519" y="907279"/>
            <a:ext cx="949099" cy="693443"/>
          </a:xfrm>
        </p:spPr>
        <p:txBody>
          <a:bodyPr vert="horz" lIns="0" tIns="0" rIns="0" bIns="0"/>
          <a:lstStyle>
            <a:lvl1pPr marL="0" indent="0">
              <a:buNone/>
              <a:defRPr sz="4000" b="1">
                <a:solidFill>
                  <a:schemeClr val="accent2"/>
                </a:solidFill>
              </a:defRPr>
            </a:lvl1pPr>
            <a:lvl2pPr marL="217483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3.0</a:t>
            </a:r>
          </a:p>
        </p:txBody>
      </p:sp>
      <p:sp>
        <p:nvSpPr>
          <p:cNvPr id="31" name="Tijdelijke aanduiding voor tekst 19">
            <a:extLst>
              <a:ext uri="{FF2B5EF4-FFF2-40B4-BE49-F238E27FC236}">
                <a16:creationId xmlns:a16="http://schemas.microsoft.com/office/drawing/2014/main" id="{B6BBE29C-90AA-4C5F-A5EF-7FBD723A9B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6836" y="6421632"/>
            <a:ext cx="1355493" cy="118704"/>
          </a:xfrm>
          <a:prstGeom prst="rect">
            <a:avLst/>
          </a:prstGeom>
          <a:blipFill>
            <a:blip r:embed="rId2"/>
            <a:srcRect/>
            <a:stretch>
              <a:fillRect t="10141" b="7644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73" name="Tijdelijke aanduiding voor dianummer 4">
            <a:extLst>
              <a:ext uri="{FF2B5EF4-FFF2-40B4-BE49-F238E27FC236}">
                <a16:creationId xmlns:a16="http://schemas.microsoft.com/office/drawing/2014/main" id="{F506CC3A-4CD9-4F07-8CB9-8A69838E6C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681" y="6274118"/>
            <a:ext cx="44204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8939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r>
              <a:rPr lang="en-GB" noProof="0"/>
              <a:t>Add a slide title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horz" lIns="0" tIns="0" rIns="0" b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here to add text. Need additional help? PPT Solutions has added extra instructions to the sides of the slides to help style- and process your text.</a:t>
            </a:r>
          </a:p>
          <a:p>
            <a:pPr lvl="1"/>
            <a:r>
              <a:rPr lang="en-GB" noProof="0"/>
              <a:t>Sub-bullet</a:t>
            </a:r>
          </a:p>
          <a:p>
            <a:pPr lvl="2"/>
            <a:r>
              <a:rPr lang="en-GB" noProof="0"/>
              <a:t>Default text</a:t>
            </a:r>
          </a:p>
          <a:p>
            <a:pPr lvl="3"/>
            <a:r>
              <a:rPr lang="en-GB" noProof="0"/>
              <a:t>Subtitle</a:t>
            </a:r>
          </a:p>
          <a:p>
            <a:pPr lvl="4"/>
            <a:r>
              <a:rPr lang="en-GB" noProof="0"/>
              <a:t>Numerical bullet</a:t>
            </a:r>
          </a:p>
          <a:p>
            <a:pPr lvl="5"/>
            <a:r>
              <a:rPr lang="en-GB" noProof="0"/>
              <a:t>Bullet</a:t>
            </a:r>
          </a:p>
          <a:p>
            <a:pPr lvl="6"/>
            <a:r>
              <a:rPr lang="en-GB" noProof="0"/>
              <a:t>Sub-bullet</a:t>
            </a:r>
          </a:p>
          <a:p>
            <a:pPr lvl="7"/>
            <a:r>
              <a:rPr lang="en-GB" noProof="0"/>
              <a:t>Default text</a:t>
            </a:r>
          </a:p>
          <a:p>
            <a:pPr lvl="8"/>
            <a:r>
              <a:rPr lang="en-GB" noProof="0"/>
              <a:t>Subtitle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en-GB" smtClean="0"/>
              <a:t>‹N›</a:t>
            </a:fld>
            <a:endParaRPr lang="en-GB"/>
          </a:p>
        </p:txBody>
      </p:sp>
      <p:sp>
        <p:nvSpPr>
          <p:cNvPr id="9" name="Tijdelijke aanduiding voor verticale tekst 2">
            <a:extLst>
              <a:ext uri="{FF2B5EF4-FFF2-40B4-BE49-F238E27FC236}">
                <a16:creationId xmlns:a16="http://schemas.microsoft.com/office/drawing/2014/main" id="{52B88F22-351D-4D36-8E9E-D2B3217E4656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977237" y="992478"/>
            <a:ext cx="10653443" cy="384511"/>
          </a:xfrm>
        </p:spPr>
        <p:txBody>
          <a:bodyPr vert="horz" lIns="0" tIns="0" bIns="0" anchor="t"/>
          <a:lstStyle>
            <a:lvl1pPr marL="0" indent="0">
              <a:buNone/>
              <a:defRPr sz="3000">
                <a:solidFill>
                  <a:schemeClr val="accent2"/>
                </a:solidFill>
              </a:defRPr>
            </a:lvl1pPr>
            <a:lvl2pPr marL="217483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521965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r>
              <a:rPr lang="en-GB" noProof="0"/>
              <a:t>Add a slide title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977281" y="2134902"/>
            <a:ext cx="2899395" cy="3462156"/>
          </a:xfrm>
        </p:spPr>
        <p:txBody>
          <a:bodyPr vert="horz" lIns="0" tIns="0" rIns="0" bIns="0" anchor="t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 marL="0" indent="0">
              <a:buNone/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here to add text. Need additional help? PPT Solutions has added extra instructions to the sides of the slides to help style- and process your text.</a:t>
            </a:r>
          </a:p>
          <a:p>
            <a:pPr lvl="1"/>
            <a:r>
              <a:rPr lang="en-GB" noProof="0"/>
              <a:t>Sub-bullet</a:t>
            </a:r>
          </a:p>
          <a:p>
            <a:pPr lvl="2"/>
            <a:r>
              <a:rPr lang="en-GB" noProof="0"/>
              <a:t>Default text</a:t>
            </a:r>
          </a:p>
          <a:p>
            <a:pPr lvl="3"/>
            <a:r>
              <a:rPr lang="en-GB" noProof="0"/>
              <a:t>Subtitle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en-GB" smtClean="0"/>
              <a:t>‹N›</a:t>
            </a:fld>
            <a:endParaRPr lang="en-GB"/>
          </a:p>
        </p:txBody>
      </p:sp>
      <p:sp>
        <p:nvSpPr>
          <p:cNvPr id="11" name="Tijdelijke aanduiding voor verticale tekst 2">
            <a:extLst>
              <a:ext uri="{FF2B5EF4-FFF2-40B4-BE49-F238E27FC236}">
                <a16:creationId xmlns:a16="http://schemas.microsoft.com/office/drawing/2014/main" id="{0857A28D-AA7A-4ED6-AB25-2ECF9E94026B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4196731" y="2134902"/>
            <a:ext cx="2899395" cy="3462156"/>
          </a:xfrm>
        </p:spPr>
        <p:txBody>
          <a:bodyPr vert="horz" lIns="0" tIns="0" rIns="0" bIns="0" anchor="t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 marL="0" indent="0">
              <a:buNone/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here to add text. Need additional help? PPT Solutions has added extra instructions to the sides of the slides to help style- and process your text.</a:t>
            </a:r>
          </a:p>
          <a:p>
            <a:pPr lvl="1"/>
            <a:r>
              <a:rPr lang="en-GB" noProof="0"/>
              <a:t>Sub-bullet</a:t>
            </a:r>
          </a:p>
          <a:p>
            <a:pPr lvl="2"/>
            <a:r>
              <a:rPr lang="en-GB" noProof="0"/>
              <a:t>Default text</a:t>
            </a:r>
          </a:p>
          <a:p>
            <a:pPr lvl="3"/>
            <a:r>
              <a:rPr lang="en-GB" noProof="0"/>
              <a:t>Subtitle</a:t>
            </a:r>
          </a:p>
        </p:txBody>
      </p:sp>
      <p:sp>
        <p:nvSpPr>
          <p:cNvPr id="12" name="Tijdelijke aanduiding voor verticale tekst 2">
            <a:extLst>
              <a:ext uri="{FF2B5EF4-FFF2-40B4-BE49-F238E27FC236}">
                <a16:creationId xmlns:a16="http://schemas.microsoft.com/office/drawing/2014/main" id="{CC7F45C4-2D4A-4692-8E7E-CB7E7271137A}"/>
              </a:ext>
            </a:extLst>
          </p:cNvPr>
          <p:cNvSpPr>
            <a:spLocks noGrp="1"/>
          </p:cNvSpPr>
          <p:nvPr>
            <p:ph type="body" orient="vert" idx="14" hasCustomPrompt="1"/>
          </p:nvPr>
        </p:nvSpPr>
        <p:spPr>
          <a:xfrm>
            <a:off x="7454281" y="2134902"/>
            <a:ext cx="2899395" cy="3462156"/>
          </a:xfrm>
        </p:spPr>
        <p:txBody>
          <a:bodyPr vert="horz" lIns="0" tIns="0" rIns="0" bIns="0" anchor="t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 marL="0" indent="0">
              <a:buNone/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here to add text. Need additional help? PPT Solutions has added extra instructions to the sides of the slides to help style- and process your text.</a:t>
            </a:r>
          </a:p>
          <a:p>
            <a:pPr lvl="1"/>
            <a:r>
              <a:rPr lang="en-GB" noProof="0"/>
              <a:t>Sub-bullet</a:t>
            </a:r>
          </a:p>
          <a:p>
            <a:pPr lvl="2"/>
            <a:r>
              <a:rPr lang="en-GB" noProof="0"/>
              <a:t>Default text</a:t>
            </a:r>
          </a:p>
          <a:p>
            <a:pPr lvl="3"/>
            <a:r>
              <a:rPr lang="en-GB" noProof="0"/>
              <a:t>Subtitle</a:t>
            </a:r>
          </a:p>
        </p:txBody>
      </p:sp>
      <p:sp>
        <p:nvSpPr>
          <p:cNvPr id="14" name="Tijdelijke aanduiding voor verticale tekst 2">
            <a:extLst>
              <a:ext uri="{FF2B5EF4-FFF2-40B4-BE49-F238E27FC236}">
                <a16:creationId xmlns:a16="http://schemas.microsoft.com/office/drawing/2014/main" id="{04B104BE-8A4B-4268-BAB6-677522764D0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977237" y="992478"/>
            <a:ext cx="10653443" cy="384511"/>
          </a:xfrm>
        </p:spPr>
        <p:txBody>
          <a:bodyPr vert="horz" lIns="0" tIns="0" bIns="0" anchor="t"/>
          <a:lstStyle>
            <a:lvl1pPr marL="0" indent="0">
              <a:buNone/>
              <a:defRPr sz="3000">
                <a:solidFill>
                  <a:schemeClr val="accent2"/>
                </a:solidFill>
              </a:defRPr>
            </a:lvl1pPr>
            <a:lvl2pPr marL="217483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861071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r>
              <a:rPr lang="en-GB" noProof="0"/>
              <a:t>Add a slide title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2021108" y="2506388"/>
            <a:ext cx="3794745" cy="1002635"/>
          </a:xfrm>
        </p:spPr>
        <p:txBody>
          <a:bodyPr vert="horz" lIns="0" tIns="0" rIns="0" bIns="0" anchor="t"/>
          <a:lstStyle>
            <a:lvl1pPr marL="0" indent="0">
              <a:lnSpc>
                <a:spcPct val="70000"/>
              </a:lnSpc>
              <a:buNone/>
              <a:defRPr sz="2000"/>
            </a:lvl1pPr>
            <a:lvl2pPr marL="217483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Place your text here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en-GB" smtClean="0"/>
              <a:t>‹N›</a:t>
            </a:fld>
            <a:endParaRPr lang="en-GB"/>
          </a:p>
        </p:txBody>
      </p:sp>
      <p:sp>
        <p:nvSpPr>
          <p:cNvPr id="14" name="Tijdelijke aanduiding voor verticale tekst 2">
            <a:extLst>
              <a:ext uri="{FF2B5EF4-FFF2-40B4-BE49-F238E27FC236}">
                <a16:creationId xmlns:a16="http://schemas.microsoft.com/office/drawing/2014/main" id="{F0C786C0-9CA0-4949-A72E-59C8A44B393B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977237" y="992478"/>
            <a:ext cx="10653443" cy="384511"/>
          </a:xfrm>
        </p:spPr>
        <p:txBody>
          <a:bodyPr vert="horz" lIns="0" tIns="0" bIns="0" anchor="t"/>
          <a:lstStyle>
            <a:lvl1pPr marL="0" indent="0">
              <a:buNone/>
              <a:defRPr sz="3000">
                <a:solidFill>
                  <a:schemeClr val="accent2"/>
                </a:solidFill>
              </a:defRPr>
            </a:lvl1pPr>
            <a:lvl2pPr marL="217483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Subtitle</a:t>
            </a:r>
          </a:p>
        </p:txBody>
      </p:sp>
      <p:grpSp>
        <p:nvGrpSpPr>
          <p:cNvPr id="10" name="Groep 9">
            <a:extLst>
              <a:ext uri="{FF2B5EF4-FFF2-40B4-BE49-F238E27FC236}">
                <a16:creationId xmlns:a16="http://schemas.microsoft.com/office/drawing/2014/main" id="{4C81D1FE-ECD8-4249-9774-77E27D2AD091}"/>
              </a:ext>
            </a:extLst>
          </p:cNvPr>
          <p:cNvGrpSpPr/>
          <p:nvPr userDrawn="1"/>
        </p:nvGrpSpPr>
        <p:grpSpPr>
          <a:xfrm>
            <a:off x="1245526" y="2146459"/>
            <a:ext cx="6058527" cy="2418063"/>
            <a:chOff x="1245525" y="2146459"/>
            <a:chExt cx="6058527" cy="2418062"/>
          </a:xfrm>
        </p:grpSpPr>
        <p:sp>
          <p:nvSpPr>
            <p:cNvPr id="19" name="Graphic 12">
              <a:extLst>
                <a:ext uri="{FF2B5EF4-FFF2-40B4-BE49-F238E27FC236}">
                  <a16:creationId xmlns:a16="http://schemas.microsoft.com/office/drawing/2014/main" id="{DF44CEDB-DD5F-47F8-A161-A399C0D9EB4B}"/>
                </a:ext>
              </a:extLst>
            </p:cNvPr>
            <p:cNvSpPr/>
            <p:nvPr userDrawn="1"/>
          </p:nvSpPr>
          <p:spPr>
            <a:xfrm rot="4740000" flipV="1">
              <a:off x="1265400" y="2126584"/>
              <a:ext cx="613296" cy="653046"/>
            </a:xfrm>
            <a:custGeom>
              <a:avLst/>
              <a:gdLst>
                <a:gd name="connsiteX0" fmla="*/ 3288083 w 5210478"/>
                <a:gd name="connsiteY0" fmla="*/ 28935 h 5548193"/>
                <a:gd name="connsiteX1" fmla="*/ 3167591 w 5210478"/>
                <a:gd name="connsiteY1" fmla="*/ 130757 h 5548193"/>
                <a:gd name="connsiteX2" fmla="*/ 45391 w 5210478"/>
                <a:gd name="connsiteY2" fmla="*/ 2660597 h 5548193"/>
                <a:gd name="connsiteX3" fmla="*/ 2529 w 5210478"/>
                <a:gd name="connsiteY3" fmla="*/ 2780612 h 5548193"/>
                <a:gd name="connsiteX4" fmla="*/ 556027 w 5210478"/>
                <a:gd name="connsiteY4" fmla="*/ 5450565 h 5548193"/>
                <a:gd name="connsiteX5" fmla="*/ 700807 w 5210478"/>
                <a:gd name="connsiteY5" fmla="*/ 5545624 h 5548193"/>
                <a:gd name="connsiteX6" fmla="*/ 5112787 w 5210478"/>
                <a:gd name="connsiteY6" fmla="*/ 4631415 h 5548193"/>
                <a:gd name="connsiteX7" fmla="*/ 5207846 w 5210478"/>
                <a:gd name="connsiteY7" fmla="*/ 4486350 h 5548193"/>
                <a:gd name="connsiteX8" fmla="*/ 4907333 w 5210478"/>
                <a:gd name="connsiteY8" fmla="*/ 3052265 h 5548193"/>
                <a:gd name="connsiteX9" fmla="*/ 3564879 w 5210478"/>
                <a:gd name="connsiteY9" fmla="*/ 161713 h 5548193"/>
                <a:gd name="connsiteX10" fmla="*/ 3459152 w 5210478"/>
                <a:gd name="connsiteY10" fmla="*/ 41603 h 5548193"/>
                <a:gd name="connsiteX11" fmla="*/ 3288083 w 5210478"/>
                <a:gd name="connsiteY11" fmla="*/ 28935 h 5548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210478" h="5548193">
                  <a:moveTo>
                    <a:pt x="3288083" y="28935"/>
                  </a:moveTo>
                  <a:lnTo>
                    <a:pt x="3167591" y="130757"/>
                  </a:lnTo>
                  <a:lnTo>
                    <a:pt x="45391" y="2660597"/>
                  </a:lnTo>
                  <a:cubicBezTo>
                    <a:pt x="9768" y="2689458"/>
                    <a:pt x="-6710" y="2735750"/>
                    <a:pt x="2529" y="2780612"/>
                  </a:cubicBezTo>
                  <a:lnTo>
                    <a:pt x="556027" y="5450565"/>
                  </a:lnTo>
                  <a:cubicBezTo>
                    <a:pt x="569743" y="5516764"/>
                    <a:pt x="634608" y="5559340"/>
                    <a:pt x="700807" y="5545624"/>
                  </a:cubicBezTo>
                  <a:lnTo>
                    <a:pt x="5112787" y="4631415"/>
                  </a:lnTo>
                  <a:cubicBezTo>
                    <a:pt x="5179176" y="4617699"/>
                    <a:pt x="5221753" y="4552643"/>
                    <a:pt x="5207846" y="4486350"/>
                  </a:cubicBezTo>
                  <a:lnTo>
                    <a:pt x="4907333" y="3052265"/>
                  </a:lnTo>
                  <a:cubicBezTo>
                    <a:pt x="4663112" y="1855925"/>
                    <a:pt x="4207436" y="890947"/>
                    <a:pt x="3564879" y="161713"/>
                  </a:cubicBezTo>
                  <a:lnTo>
                    <a:pt x="3459152" y="41603"/>
                  </a:lnTo>
                  <a:cubicBezTo>
                    <a:pt x="3415051" y="-8498"/>
                    <a:pt x="3339041" y="-14118"/>
                    <a:pt x="3288083" y="28935"/>
                  </a:cubicBez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0" name="Graphic 12">
              <a:extLst>
                <a:ext uri="{FF2B5EF4-FFF2-40B4-BE49-F238E27FC236}">
                  <a16:creationId xmlns:a16="http://schemas.microsoft.com/office/drawing/2014/main" id="{AC45DC5C-AF4F-4834-88EB-88700B279197}"/>
                </a:ext>
              </a:extLst>
            </p:cNvPr>
            <p:cNvSpPr/>
            <p:nvPr userDrawn="1"/>
          </p:nvSpPr>
          <p:spPr>
            <a:xfrm rot="4740000" flipV="1">
              <a:off x="1265400" y="3931349"/>
              <a:ext cx="613296" cy="653046"/>
            </a:xfrm>
            <a:custGeom>
              <a:avLst/>
              <a:gdLst>
                <a:gd name="connsiteX0" fmla="*/ 3288083 w 5210478"/>
                <a:gd name="connsiteY0" fmla="*/ 28935 h 5548193"/>
                <a:gd name="connsiteX1" fmla="*/ 3167591 w 5210478"/>
                <a:gd name="connsiteY1" fmla="*/ 130757 h 5548193"/>
                <a:gd name="connsiteX2" fmla="*/ 45391 w 5210478"/>
                <a:gd name="connsiteY2" fmla="*/ 2660597 h 5548193"/>
                <a:gd name="connsiteX3" fmla="*/ 2529 w 5210478"/>
                <a:gd name="connsiteY3" fmla="*/ 2780612 h 5548193"/>
                <a:gd name="connsiteX4" fmla="*/ 556027 w 5210478"/>
                <a:gd name="connsiteY4" fmla="*/ 5450565 h 5548193"/>
                <a:gd name="connsiteX5" fmla="*/ 700807 w 5210478"/>
                <a:gd name="connsiteY5" fmla="*/ 5545624 h 5548193"/>
                <a:gd name="connsiteX6" fmla="*/ 5112787 w 5210478"/>
                <a:gd name="connsiteY6" fmla="*/ 4631415 h 5548193"/>
                <a:gd name="connsiteX7" fmla="*/ 5207846 w 5210478"/>
                <a:gd name="connsiteY7" fmla="*/ 4486350 h 5548193"/>
                <a:gd name="connsiteX8" fmla="*/ 4907333 w 5210478"/>
                <a:gd name="connsiteY8" fmla="*/ 3052265 h 5548193"/>
                <a:gd name="connsiteX9" fmla="*/ 3564879 w 5210478"/>
                <a:gd name="connsiteY9" fmla="*/ 161713 h 5548193"/>
                <a:gd name="connsiteX10" fmla="*/ 3459152 w 5210478"/>
                <a:gd name="connsiteY10" fmla="*/ 41603 h 5548193"/>
                <a:gd name="connsiteX11" fmla="*/ 3288083 w 5210478"/>
                <a:gd name="connsiteY11" fmla="*/ 28935 h 5548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210478" h="5548193">
                  <a:moveTo>
                    <a:pt x="3288083" y="28935"/>
                  </a:moveTo>
                  <a:lnTo>
                    <a:pt x="3167591" y="130757"/>
                  </a:lnTo>
                  <a:lnTo>
                    <a:pt x="45391" y="2660597"/>
                  </a:lnTo>
                  <a:cubicBezTo>
                    <a:pt x="9768" y="2689458"/>
                    <a:pt x="-6710" y="2735750"/>
                    <a:pt x="2529" y="2780612"/>
                  </a:cubicBezTo>
                  <a:lnTo>
                    <a:pt x="556027" y="5450565"/>
                  </a:lnTo>
                  <a:cubicBezTo>
                    <a:pt x="569743" y="5516764"/>
                    <a:pt x="634608" y="5559340"/>
                    <a:pt x="700807" y="5545624"/>
                  </a:cubicBezTo>
                  <a:lnTo>
                    <a:pt x="5112787" y="4631415"/>
                  </a:lnTo>
                  <a:cubicBezTo>
                    <a:pt x="5179176" y="4617699"/>
                    <a:pt x="5221753" y="4552643"/>
                    <a:pt x="5207846" y="4486350"/>
                  </a:cubicBezTo>
                  <a:lnTo>
                    <a:pt x="4907333" y="3052265"/>
                  </a:lnTo>
                  <a:cubicBezTo>
                    <a:pt x="4663112" y="1855925"/>
                    <a:pt x="4207436" y="890947"/>
                    <a:pt x="3564879" y="161713"/>
                  </a:cubicBezTo>
                  <a:lnTo>
                    <a:pt x="3459152" y="41603"/>
                  </a:lnTo>
                  <a:cubicBezTo>
                    <a:pt x="3415051" y="-8498"/>
                    <a:pt x="3339041" y="-14118"/>
                    <a:pt x="3288083" y="28935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1" name="Graphic 12">
              <a:extLst>
                <a:ext uri="{FF2B5EF4-FFF2-40B4-BE49-F238E27FC236}">
                  <a16:creationId xmlns:a16="http://schemas.microsoft.com/office/drawing/2014/main" id="{F2025E92-DF14-4B48-8687-6C097353B62B}"/>
                </a:ext>
              </a:extLst>
            </p:cNvPr>
            <p:cNvSpPr/>
            <p:nvPr userDrawn="1"/>
          </p:nvSpPr>
          <p:spPr>
            <a:xfrm rot="4740000" flipV="1">
              <a:off x="6670881" y="2126585"/>
              <a:ext cx="613296" cy="653046"/>
            </a:xfrm>
            <a:custGeom>
              <a:avLst/>
              <a:gdLst>
                <a:gd name="connsiteX0" fmla="*/ 3288083 w 5210478"/>
                <a:gd name="connsiteY0" fmla="*/ 28935 h 5548193"/>
                <a:gd name="connsiteX1" fmla="*/ 3167591 w 5210478"/>
                <a:gd name="connsiteY1" fmla="*/ 130757 h 5548193"/>
                <a:gd name="connsiteX2" fmla="*/ 45391 w 5210478"/>
                <a:gd name="connsiteY2" fmla="*/ 2660597 h 5548193"/>
                <a:gd name="connsiteX3" fmla="*/ 2529 w 5210478"/>
                <a:gd name="connsiteY3" fmla="*/ 2780612 h 5548193"/>
                <a:gd name="connsiteX4" fmla="*/ 556027 w 5210478"/>
                <a:gd name="connsiteY4" fmla="*/ 5450565 h 5548193"/>
                <a:gd name="connsiteX5" fmla="*/ 700807 w 5210478"/>
                <a:gd name="connsiteY5" fmla="*/ 5545624 h 5548193"/>
                <a:gd name="connsiteX6" fmla="*/ 5112787 w 5210478"/>
                <a:gd name="connsiteY6" fmla="*/ 4631415 h 5548193"/>
                <a:gd name="connsiteX7" fmla="*/ 5207846 w 5210478"/>
                <a:gd name="connsiteY7" fmla="*/ 4486350 h 5548193"/>
                <a:gd name="connsiteX8" fmla="*/ 4907333 w 5210478"/>
                <a:gd name="connsiteY8" fmla="*/ 3052265 h 5548193"/>
                <a:gd name="connsiteX9" fmla="*/ 3564879 w 5210478"/>
                <a:gd name="connsiteY9" fmla="*/ 161713 h 5548193"/>
                <a:gd name="connsiteX10" fmla="*/ 3459152 w 5210478"/>
                <a:gd name="connsiteY10" fmla="*/ 41603 h 5548193"/>
                <a:gd name="connsiteX11" fmla="*/ 3288083 w 5210478"/>
                <a:gd name="connsiteY11" fmla="*/ 28935 h 5548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210478" h="5548193">
                  <a:moveTo>
                    <a:pt x="3288083" y="28935"/>
                  </a:moveTo>
                  <a:lnTo>
                    <a:pt x="3167591" y="130757"/>
                  </a:lnTo>
                  <a:lnTo>
                    <a:pt x="45391" y="2660597"/>
                  </a:lnTo>
                  <a:cubicBezTo>
                    <a:pt x="9768" y="2689458"/>
                    <a:pt x="-6710" y="2735750"/>
                    <a:pt x="2529" y="2780612"/>
                  </a:cubicBezTo>
                  <a:lnTo>
                    <a:pt x="556027" y="5450565"/>
                  </a:lnTo>
                  <a:cubicBezTo>
                    <a:pt x="569743" y="5516764"/>
                    <a:pt x="634608" y="5559340"/>
                    <a:pt x="700807" y="5545624"/>
                  </a:cubicBezTo>
                  <a:lnTo>
                    <a:pt x="5112787" y="4631415"/>
                  </a:lnTo>
                  <a:cubicBezTo>
                    <a:pt x="5179176" y="4617699"/>
                    <a:pt x="5221753" y="4552643"/>
                    <a:pt x="5207846" y="4486350"/>
                  </a:cubicBezTo>
                  <a:lnTo>
                    <a:pt x="4907333" y="3052265"/>
                  </a:lnTo>
                  <a:cubicBezTo>
                    <a:pt x="4663112" y="1855925"/>
                    <a:pt x="4207436" y="890947"/>
                    <a:pt x="3564879" y="161713"/>
                  </a:cubicBezTo>
                  <a:lnTo>
                    <a:pt x="3459152" y="41603"/>
                  </a:lnTo>
                  <a:cubicBezTo>
                    <a:pt x="3415051" y="-8498"/>
                    <a:pt x="3339041" y="-14118"/>
                    <a:pt x="3288083" y="28935"/>
                  </a:cubicBez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2" name="Graphic 12">
              <a:extLst>
                <a:ext uri="{FF2B5EF4-FFF2-40B4-BE49-F238E27FC236}">
                  <a16:creationId xmlns:a16="http://schemas.microsoft.com/office/drawing/2014/main" id="{680BDA63-3D31-4F3E-B415-D09D23FE69BB}"/>
                </a:ext>
              </a:extLst>
            </p:cNvPr>
            <p:cNvSpPr/>
            <p:nvPr userDrawn="1"/>
          </p:nvSpPr>
          <p:spPr>
            <a:xfrm rot="4740000" flipV="1">
              <a:off x="6670881" y="3931350"/>
              <a:ext cx="613296" cy="653046"/>
            </a:xfrm>
            <a:custGeom>
              <a:avLst/>
              <a:gdLst>
                <a:gd name="connsiteX0" fmla="*/ 3288083 w 5210478"/>
                <a:gd name="connsiteY0" fmla="*/ 28935 h 5548193"/>
                <a:gd name="connsiteX1" fmla="*/ 3167591 w 5210478"/>
                <a:gd name="connsiteY1" fmla="*/ 130757 h 5548193"/>
                <a:gd name="connsiteX2" fmla="*/ 45391 w 5210478"/>
                <a:gd name="connsiteY2" fmla="*/ 2660597 h 5548193"/>
                <a:gd name="connsiteX3" fmla="*/ 2529 w 5210478"/>
                <a:gd name="connsiteY3" fmla="*/ 2780612 h 5548193"/>
                <a:gd name="connsiteX4" fmla="*/ 556027 w 5210478"/>
                <a:gd name="connsiteY4" fmla="*/ 5450565 h 5548193"/>
                <a:gd name="connsiteX5" fmla="*/ 700807 w 5210478"/>
                <a:gd name="connsiteY5" fmla="*/ 5545624 h 5548193"/>
                <a:gd name="connsiteX6" fmla="*/ 5112787 w 5210478"/>
                <a:gd name="connsiteY6" fmla="*/ 4631415 h 5548193"/>
                <a:gd name="connsiteX7" fmla="*/ 5207846 w 5210478"/>
                <a:gd name="connsiteY7" fmla="*/ 4486350 h 5548193"/>
                <a:gd name="connsiteX8" fmla="*/ 4907333 w 5210478"/>
                <a:gd name="connsiteY8" fmla="*/ 3052265 h 5548193"/>
                <a:gd name="connsiteX9" fmla="*/ 3564879 w 5210478"/>
                <a:gd name="connsiteY9" fmla="*/ 161713 h 5548193"/>
                <a:gd name="connsiteX10" fmla="*/ 3459152 w 5210478"/>
                <a:gd name="connsiteY10" fmla="*/ 41603 h 5548193"/>
                <a:gd name="connsiteX11" fmla="*/ 3288083 w 5210478"/>
                <a:gd name="connsiteY11" fmla="*/ 28935 h 5548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210478" h="5548193">
                  <a:moveTo>
                    <a:pt x="3288083" y="28935"/>
                  </a:moveTo>
                  <a:lnTo>
                    <a:pt x="3167591" y="130757"/>
                  </a:lnTo>
                  <a:lnTo>
                    <a:pt x="45391" y="2660597"/>
                  </a:lnTo>
                  <a:cubicBezTo>
                    <a:pt x="9768" y="2689458"/>
                    <a:pt x="-6710" y="2735750"/>
                    <a:pt x="2529" y="2780612"/>
                  </a:cubicBezTo>
                  <a:lnTo>
                    <a:pt x="556027" y="5450565"/>
                  </a:lnTo>
                  <a:cubicBezTo>
                    <a:pt x="569743" y="5516764"/>
                    <a:pt x="634608" y="5559340"/>
                    <a:pt x="700807" y="5545624"/>
                  </a:cubicBezTo>
                  <a:lnTo>
                    <a:pt x="5112787" y="4631415"/>
                  </a:lnTo>
                  <a:cubicBezTo>
                    <a:pt x="5179176" y="4617699"/>
                    <a:pt x="5221753" y="4552643"/>
                    <a:pt x="5207846" y="4486350"/>
                  </a:cubicBezTo>
                  <a:lnTo>
                    <a:pt x="4907333" y="3052265"/>
                  </a:lnTo>
                  <a:cubicBezTo>
                    <a:pt x="4663112" y="1855925"/>
                    <a:pt x="4207436" y="890947"/>
                    <a:pt x="3564879" y="161713"/>
                  </a:cubicBezTo>
                  <a:lnTo>
                    <a:pt x="3459152" y="41603"/>
                  </a:lnTo>
                  <a:cubicBezTo>
                    <a:pt x="3415051" y="-8498"/>
                    <a:pt x="3339041" y="-14118"/>
                    <a:pt x="3288083" y="28935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sp>
        <p:nvSpPr>
          <p:cNvPr id="23" name="Tijdelijke aanduiding voor verticale tekst 2">
            <a:extLst>
              <a:ext uri="{FF2B5EF4-FFF2-40B4-BE49-F238E27FC236}">
                <a16:creationId xmlns:a16="http://schemas.microsoft.com/office/drawing/2014/main" id="{96339AD9-CAC5-49CB-996A-E9D7DBC51D43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2021108" y="2155004"/>
            <a:ext cx="3794745" cy="259425"/>
          </a:xfrm>
        </p:spPr>
        <p:txBody>
          <a:bodyPr vert="horz" lIns="0" tIns="0" rIns="0" bIns="0" anchor="b"/>
          <a:lstStyle>
            <a:lvl1pPr marL="0" indent="0">
              <a:lnSpc>
                <a:spcPct val="70000"/>
              </a:lnSpc>
              <a:buNone/>
              <a:defRPr sz="2000" b="1"/>
            </a:lvl1pPr>
            <a:lvl2pPr marL="217483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Place title here</a:t>
            </a:r>
          </a:p>
        </p:txBody>
      </p:sp>
      <p:sp>
        <p:nvSpPr>
          <p:cNvPr id="24" name="Tijdelijke aanduiding voor verticale tekst 2">
            <a:extLst>
              <a:ext uri="{FF2B5EF4-FFF2-40B4-BE49-F238E27FC236}">
                <a16:creationId xmlns:a16="http://schemas.microsoft.com/office/drawing/2014/main" id="{65A4D6C2-520D-47E0-8620-717F73ED8C3C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2021108" y="4362257"/>
            <a:ext cx="3794745" cy="1002635"/>
          </a:xfrm>
        </p:spPr>
        <p:txBody>
          <a:bodyPr vert="horz" lIns="0" tIns="0" rIns="0" bIns="0" anchor="t"/>
          <a:lstStyle>
            <a:lvl1pPr marL="0" indent="0">
              <a:lnSpc>
                <a:spcPct val="70000"/>
              </a:lnSpc>
              <a:buNone/>
              <a:defRPr sz="2000"/>
            </a:lvl1pPr>
            <a:lvl2pPr marL="217483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Place your text here</a:t>
            </a:r>
          </a:p>
        </p:txBody>
      </p:sp>
      <p:sp>
        <p:nvSpPr>
          <p:cNvPr id="25" name="Tijdelijke aanduiding voor verticale tekst 2">
            <a:extLst>
              <a:ext uri="{FF2B5EF4-FFF2-40B4-BE49-F238E27FC236}">
                <a16:creationId xmlns:a16="http://schemas.microsoft.com/office/drawing/2014/main" id="{005C4AD9-8AB9-4FCA-A2AB-49FEA01EC662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2021108" y="4010873"/>
            <a:ext cx="3794745" cy="259425"/>
          </a:xfrm>
        </p:spPr>
        <p:txBody>
          <a:bodyPr vert="horz" lIns="0" tIns="0" rIns="0" bIns="0" anchor="b"/>
          <a:lstStyle>
            <a:lvl1pPr marL="0" indent="0">
              <a:lnSpc>
                <a:spcPct val="70000"/>
              </a:lnSpc>
              <a:buNone/>
              <a:defRPr sz="2000" b="1"/>
            </a:lvl1pPr>
            <a:lvl2pPr marL="217483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Place title here</a:t>
            </a:r>
          </a:p>
        </p:txBody>
      </p:sp>
      <p:sp>
        <p:nvSpPr>
          <p:cNvPr id="31" name="Tijdelijke aanduiding voor verticale tekst 2">
            <a:extLst>
              <a:ext uri="{FF2B5EF4-FFF2-40B4-BE49-F238E27FC236}">
                <a16:creationId xmlns:a16="http://schemas.microsoft.com/office/drawing/2014/main" id="{C5EF6E28-A8BF-4FB7-898D-7B029802FB0E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7468270" y="2506388"/>
            <a:ext cx="3794745" cy="1002635"/>
          </a:xfrm>
        </p:spPr>
        <p:txBody>
          <a:bodyPr vert="horz" lIns="0" tIns="0" rIns="0" bIns="0" anchor="t"/>
          <a:lstStyle>
            <a:lvl1pPr marL="0" indent="0">
              <a:lnSpc>
                <a:spcPct val="70000"/>
              </a:lnSpc>
              <a:buNone/>
              <a:defRPr sz="2000"/>
            </a:lvl1pPr>
            <a:lvl2pPr marL="217483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Place your text here</a:t>
            </a:r>
          </a:p>
        </p:txBody>
      </p:sp>
      <p:sp>
        <p:nvSpPr>
          <p:cNvPr id="32" name="Tijdelijke aanduiding voor verticale tekst 2">
            <a:extLst>
              <a:ext uri="{FF2B5EF4-FFF2-40B4-BE49-F238E27FC236}">
                <a16:creationId xmlns:a16="http://schemas.microsoft.com/office/drawing/2014/main" id="{B01F21CE-901F-494D-BC5A-2FF2926E587E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7468270" y="2155004"/>
            <a:ext cx="3794745" cy="259425"/>
          </a:xfrm>
        </p:spPr>
        <p:txBody>
          <a:bodyPr vert="horz" lIns="0" tIns="0" rIns="0" bIns="0" anchor="b"/>
          <a:lstStyle>
            <a:lvl1pPr marL="0" indent="0">
              <a:lnSpc>
                <a:spcPct val="70000"/>
              </a:lnSpc>
              <a:buNone/>
              <a:defRPr sz="2000" b="1"/>
            </a:lvl1pPr>
            <a:lvl2pPr marL="217483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Place title here</a:t>
            </a:r>
          </a:p>
        </p:txBody>
      </p:sp>
      <p:sp>
        <p:nvSpPr>
          <p:cNvPr id="33" name="Tijdelijke aanduiding voor verticale tekst 2">
            <a:extLst>
              <a:ext uri="{FF2B5EF4-FFF2-40B4-BE49-F238E27FC236}">
                <a16:creationId xmlns:a16="http://schemas.microsoft.com/office/drawing/2014/main" id="{CBBD953B-0C18-490B-806D-569E925D5FA9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7468270" y="4362257"/>
            <a:ext cx="3794745" cy="1002635"/>
          </a:xfrm>
        </p:spPr>
        <p:txBody>
          <a:bodyPr vert="horz" lIns="0" tIns="0" rIns="0" bIns="0" anchor="t"/>
          <a:lstStyle>
            <a:lvl1pPr marL="0" indent="0">
              <a:lnSpc>
                <a:spcPct val="70000"/>
              </a:lnSpc>
              <a:buNone/>
              <a:defRPr sz="2000"/>
            </a:lvl1pPr>
            <a:lvl2pPr marL="217483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Place your text here</a:t>
            </a:r>
          </a:p>
        </p:txBody>
      </p:sp>
      <p:sp>
        <p:nvSpPr>
          <p:cNvPr id="34" name="Tijdelijke aanduiding voor verticale tekst 2">
            <a:extLst>
              <a:ext uri="{FF2B5EF4-FFF2-40B4-BE49-F238E27FC236}">
                <a16:creationId xmlns:a16="http://schemas.microsoft.com/office/drawing/2014/main" id="{A901902E-5EF6-4589-9469-1097EC1BD05A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>
            <a:off x="7468270" y="4010873"/>
            <a:ext cx="3794745" cy="259425"/>
          </a:xfrm>
        </p:spPr>
        <p:txBody>
          <a:bodyPr vert="horz" lIns="0" tIns="0" rIns="0" bIns="0" anchor="b"/>
          <a:lstStyle>
            <a:lvl1pPr marL="0" indent="0">
              <a:lnSpc>
                <a:spcPct val="70000"/>
              </a:lnSpc>
              <a:buNone/>
              <a:defRPr sz="2000" b="1"/>
            </a:lvl1pPr>
            <a:lvl2pPr marL="217483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Place title here</a:t>
            </a:r>
          </a:p>
        </p:txBody>
      </p:sp>
      <p:sp>
        <p:nvSpPr>
          <p:cNvPr id="35" name="Tijdelijke aanduiding voor verticale tekst 2">
            <a:extLst>
              <a:ext uri="{FF2B5EF4-FFF2-40B4-BE49-F238E27FC236}">
                <a16:creationId xmlns:a16="http://schemas.microsoft.com/office/drawing/2014/main" id="{D1B3DF1A-285C-4879-AF7B-02E410040FF1}"/>
              </a:ext>
            </a:extLst>
          </p:cNvPr>
          <p:cNvSpPr>
            <a:spLocks noGrp="1"/>
          </p:cNvSpPr>
          <p:nvPr>
            <p:ph type="body" orient="vert" idx="23" hasCustomPrompt="1"/>
          </p:nvPr>
        </p:nvSpPr>
        <p:spPr>
          <a:xfrm>
            <a:off x="1369693" y="2238210"/>
            <a:ext cx="499639" cy="387247"/>
          </a:xfrm>
        </p:spPr>
        <p:txBody>
          <a:bodyPr vert="horz" lIns="0" tIns="0" rIns="0" bIns="0" anchor="b"/>
          <a:lstStyle>
            <a:lvl1pPr marL="0" indent="0" algn="ctr">
              <a:lnSpc>
                <a:spcPct val="70000"/>
              </a:lnSpc>
              <a:buNone/>
              <a:defRPr sz="2800" b="0">
                <a:solidFill>
                  <a:schemeClr val="bg1"/>
                </a:solidFill>
              </a:defRPr>
            </a:lvl1pPr>
            <a:lvl2pPr marL="217483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0</a:t>
            </a:r>
          </a:p>
        </p:txBody>
      </p:sp>
      <p:sp>
        <p:nvSpPr>
          <p:cNvPr id="36" name="Tijdelijke aanduiding voor verticale tekst 2">
            <a:extLst>
              <a:ext uri="{FF2B5EF4-FFF2-40B4-BE49-F238E27FC236}">
                <a16:creationId xmlns:a16="http://schemas.microsoft.com/office/drawing/2014/main" id="{5163A1EB-E330-4739-BD91-B3F092B01570}"/>
              </a:ext>
            </a:extLst>
          </p:cNvPr>
          <p:cNvSpPr>
            <a:spLocks noGrp="1"/>
          </p:cNvSpPr>
          <p:nvPr>
            <p:ph type="body" orient="vert" idx="24" hasCustomPrompt="1"/>
          </p:nvPr>
        </p:nvSpPr>
        <p:spPr>
          <a:xfrm>
            <a:off x="1369693" y="4041694"/>
            <a:ext cx="499639" cy="387247"/>
          </a:xfrm>
        </p:spPr>
        <p:txBody>
          <a:bodyPr vert="horz" lIns="0" tIns="0" rIns="0" bIns="0" anchor="b"/>
          <a:lstStyle>
            <a:lvl1pPr marL="0" indent="0" algn="ctr">
              <a:lnSpc>
                <a:spcPct val="70000"/>
              </a:lnSpc>
              <a:buNone/>
              <a:defRPr sz="2800" b="0">
                <a:solidFill>
                  <a:schemeClr val="bg1"/>
                </a:solidFill>
              </a:defRPr>
            </a:lvl1pPr>
            <a:lvl2pPr marL="217483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0</a:t>
            </a:r>
          </a:p>
        </p:txBody>
      </p:sp>
      <p:sp>
        <p:nvSpPr>
          <p:cNvPr id="37" name="Tijdelijke aanduiding voor verticale tekst 2">
            <a:extLst>
              <a:ext uri="{FF2B5EF4-FFF2-40B4-BE49-F238E27FC236}">
                <a16:creationId xmlns:a16="http://schemas.microsoft.com/office/drawing/2014/main" id="{AFE2CBB0-12C5-4CA1-9329-CEC494769335}"/>
              </a:ext>
            </a:extLst>
          </p:cNvPr>
          <p:cNvSpPr>
            <a:spLocks noGrp="1"/>
          </p:cNvSpPr>
          <p:nvPr>
            <p:ph type="body" orient="vert" idx="25" hasCustomPrompt="1"/>
          </p:nvPr>
        </p:nvSpPr>
        <p:spPr>
          <a:xfrm>
            <a:off x="6773899" y="2238210"/>
            <a:ext cx="499639" cy="387247"/>
          </a:xfrm>
        </p:spPr>
        <p:txBody>
          <a:bodyPr vert="horz" lIns="0" tIns="0" rIns="0" bIns="0" anchor="b"/>
          <a:lstStyle>
            <a:lvl1pPr marL="0" indent="0" algn="ctr">
              <a:lnSpc>
                <a:spcPct val="70000"/>
              </a:lnSpc>
              <a:buNone/>
              <a:defRPr sz="2800" b="0">
                <a:solidFill>
                  <a:schemeClr val="bg1"/>
                </a:solidFill>
              </a:defRPr>
            </a:lvl1pPr>
            <a:lvl2pPr marL="217483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0</a:t>
            </a:r>
          </a:p>
        </p:txBody>
      </p:sp>
      <p:sp>
        <p:nvSpPr>
          <p:cNvPr id="38" name="Tijdelijke aanduiding voor verticale tekst 2">
            <a:extLst>
              <a:ext uri="{FF2B5EF4-FFF2-40B4-BE49-F238E27FC236}">
                <a16:creationId xmlns:a16="http://schemas.microsoft.com/office/drawing/2014/main" id="{8291D114-14C3-4F3B-A921-3F488DBB7D72}"/>
              </a:ext>
            </a:extLst>
          </p:cNvPr>
          <p:cNvSpPr>
            <a:spLocks noGrp="1"/>
          </p:cNvSpPr>
          <p:nvPr>
            <p:ph type="body" orient="vert" idx="26" hasCustomPrompt="1"/>
          </p:nvPr>
        </p:nvSpPr>
        <p:spPr>
          <a:xfrm>
            <a:off x="6773899" y="4041694"/>
            <a:ext cx="499639" cy="387247"/>
          </a:xfrm>
        </p:spPr>
        <p:txBody>
          <a:bodyPr vert="horz" lIns="0" tIns="0" rIns="0" bIns="0" anchor="b"/>
          <a:lstStyle>
            <a:lvl1pPr marL="0" indent="0" algn="ctr">
              <a:lnSpc>
                <a:spcPct val="70000"/>
              </a:lnSpc>
              <a:buNone/>
              <a:defRPr sz="2800" b="0">
                <a:solidFill>
                  <a:schemeClr val="bg1"/>
                </a:solidFill>
              </a:defRPr>
            </a:lvl1pPr>
            <a:lvl2pPr marL="217483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3977427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hort + fixed imag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" name="Tijdelijke aanduiding voor afbeelding 19">
            <a:extLst>
              <a:ext uri="{FF2B5EF4-FFF2-40B4-BE49-F238E27FC236}">
                <a16:creationId xmlns:a16="http://schemas.microsoft.com/office/drawing/2014/main" id="{2542DFB4-34FE-40F1-BA7B-D4CCFF638E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t="1" b="1"/>
          <a:stretch>
            <a:fillRect/>
          </a:stretch>
        </p:blipFill>
        <p:spPr>
          <a:xfrm>
            <a:off x="-5376" y="1434"/>
            <a:ext cx="12202751" cy="6856567"/>
          </a:xfrm>
          <a:prstGeom prst="rect">
            <a:avLst/>
          </a:prstGeom>
        </p:spPr>
      </p:pic>
      <p:sp>
        <p:nvSpPr>
          <p:cNvPr id="14" name="Tijdelijke aanduiding voor tekst 13">
            <a:extLst>
              <a:ext uri="{FF2B5EF4-FFF2-40B4-BE49-F238E27FC236}">
                <a16:creationId xmlns:a16="http://schemas.microsoft.com/office/drawing/2014/main" id="{6D266F51-F81C-4F01-A9E7-4456E7E62A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11114" y="0"/>
            <a:ext cx="7289419" cy="4245611"/>
          </a:xfrm>
          <a:custGeom>
            <a:avLst/>
            <a:gdLst>
              <a:gd name="connsiteX0" fmla="*/ 6628976 w 7289418"/>
              <a:gd name="connsiteY0" fmla="*/ 0 h 4245610"/>
              <a:gd name="connsiteX1" fmla="*/ 6671319 w 7289418"/>
              <a:gd name="connsiteY1" fmla="*/ 94434 h 4245610"/>
              <a:gd name="connsiteX2" fmla="*/ 7217192 w 7289418"/>
              <a:gd name="connsiteY2" fmla="*/ 1774999 h 4245610"/>
              <a:gd name="connsiteX3" fmla="*/ 7283719 w 7289418"/>
              <a:gd name="connsiteY3" fmla="*/ 2071554 h 4245610"/>
              <a:gd name="connsiteX4" fmla="*/ 7112202 w 7289418"/>
              <a:gd name="connsiteY4" fmla="*/ 2348562 h 4245610"/>
              <a:gd name="connsiteX5" fmla="*/ 6821223 w 7289418"/>
              <a:gd name="connsiteY5" fmla="*/ 2420035 h 4245610"/>
              <a:gd name="connsiteX6" fmla="*/ 0 w 7289418"/>
              <a:gd name="connsiteY6" fmla="*/ 4245610 h 4245610"/>
              <a:gd name="connsiteX7" fmla="*/ 0 w 7289418"/>
              <a:gd name="connsiteY7" fmla="*/ 1 h 4245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89418" h="4245610">
                <a:moveTo>
                  <a:pt x="6628976" y="0"/>
                </a:moveTo>
                <a:lnTo>
                  <a:pt x="6671319" y="94434"/>
                </a:lnTo>
                <a:cubicBezTo>
                  <a:pt x="6909449" y="651413"/>
                  <a:pt x="7091196" y="1212036"/>
                  <a:pt x="7217192" y="1774999"/>
                </a:cubicBezTo>
                <a:lnTo>
                  <a:pt x="7283719" y="2071554"/>
                </a:lnTo>
                <a:cubicBezTo>
                  <a:pt x="7311471" y="2195253"/>
                  <a:pt x="7235248" y="2318324"/>
                  <a:pt x="7112202" y="2348562"/>
                </a:cubicBezTo>
                <a:lnTo>
                  <a:pt x="6821223" y="2420035"/>
                </a:lnTo>
                <a:lnTo>
                  <a:pt x="0" y="4245610"/>
                </a:lnTo>
                <a:lnTo>
                  <a:pt x="0" y="1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5" name="Titel 5">
            <a:extLst>
              <a:ext uri="{FF2B5EF4-FFF2-40B4-BE49-F238E27FC236}">
                <a16:creationId xmlns:a16="http://schemas.microsoft.com/office/drawing/2014/main" id="{20DBEB7A-7FB1-4F46-90EC-A1F387B9FD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9516" y="1298687"/>
            <a:ext cx="5800773" cy="490400"/>
          </a:xfrm>
        </p:spPr>
        <p:txBody>
          <a:bodyPr/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GB" noProof="0"/>
              <a:t>Template for a short title</a:t>
            </a:r>
            <a:endParaRPr lang="en-GB"/>
          </a:p>
        </p:txBody>
      </p:sp>
      <p:sp>
        <p:nvSpPr>
          <p:cNvPr id="16" name="Tijdelijke aanduiding voor verticale tekst 2">
            <a:extLst>
              <a:ext uri="{FF2B5EF4-FFF2-40B4-BE49-F238E27FC236}">
                <a16:creationId xmlns:a16="http://schemas.microsoft.com/office/drawing/2014/main" id="{3DDC4B29-4832-4EE5-881D-B67E81FACF2C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899789" y="2013656"/>
            <a:ext cx="5800772" cy="267480"/>
          </a:xfrm>
        </p:spPr>
        <p:txBody>
          <a:bodyPr vert="horz" lIns="0" tIns="0" rIns="0" bIns="0"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  <a:lvl2pPr marL="217483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 algn="l"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Name | function</a:t>
            </a:r>
          </a:p>
        </p:txBody>
      </p:sp>
      <p:sp>
        <p:nvSpPr>
          <p:cNvPr id="17" name="Tijdelijke aanduiding voor verticale tekst 2">
            <a:extLst>
              <a:ext uri="{FF2B5EF4-FFF2-40B4-BE49-F238E27FC236}">
                <a16:creationId xmlns:a16="http://schemas.microsoft.com/office/drawing/2014/main" id="{9320452F-9DCE-487E-B782-800F05C0A7BA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899788" y="2440275"/>
            <a:ext cx="1694000" cy="183397"/>
          </a:xfrm>
        </p:spPr>
        <p:txBody>
          <a:bodyPr vert="horz" lIns="0" tIns="0" rIns="0" bIns="0" anchor="ctr"/>
          <a:lstStyle>
            <a:lvl1pPr marL="0" indent="0">
              <a:buNone/>
              <a:defRPr sz="1100">
                <a:solidFill>
                  <a:schemeClr val="accent2"/>
                </a:solidFill>
              </a:defRPr>
            </a:lvl1pPr>
            <a:lvl2pPr marL="217483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Location</a:t>
            </a:r>
          </a:p>
        </p:txBody>
      </p:sp>
      <p:sp>
        <p:nvSpPr>
          <p:cNvPr id="18" name="Tijdelijke aanduiding voor verticale tekst 2">
            <a:extLst>
              <a:ext uri="{FF2B5EF4-FFF2-40B4-BE49-F238E27FC236}">
                <a16:creationId xmlns:a16="http://schemas.microsoft.com/office/drawing/2014/main" id="{1AE3309E-D390-4597-A595-36BBA6076D7C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899788" y="2634868"/>
            <a:ext cx="1694000" cy="183397"/>
          </a:xfrm>
        </p:spPr>
        <p:txBody>
          <a:bodyPr vert="horz" lIns="0" tIns="0" rIns="0" bIns="0" anchor="ctr"/>
          <a:lstStyle>
            <a:lvl1pPr marL="0" indent="0">
              <a:buNone/>
              <a:defRPr sz="1100">
                <a:solidFill>
                  <a:schemeClr val="accent2"/>
                </a:solidFill>
              </a:defRPr>
            </a:lvl1pPr>
            <a:lvl2pPr marL="217483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Date</a:t>
            </a:r>
          </a:p>
        </p:txBody>
      </p:sp>
      <p:sp>
        <p:nvSpPr>
          <p:cNvPr id="20" name="Tijdelijke aanduiding voor tekst 19">
            <a:extLst>
              <a:ext uri="{FF2B5EF4-FFF2-40B4-BE49-F238E27FC236}">
                <a16:creationId xmlns:a16="http://schemas.microsoft.com/office/drawing/2014/main" id="{FF5C0579-2F70-4964-8677-9A9AEB4495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1339" y="899559"/>
            <a:ext cx="1369048" cy="122301"/>
          </a:xfrm>
          <a:prstGeom prst="rect">
            <a:avLst/>
          </a:prstGeom>
          <a:blipFill>
            <a:blip r:embed="rId3"/>
            <a:srcRect/>
            <a:stretch>
              <a:fillRect t="10141" b="7644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78" name="Tijdelijke aanduiding voor dianummer 4">
            <a:extLst>
              <a:ext uri="{FF2B5EF4-FFF2-40B4-BE49-F238E27FC236}">
                <a16:creationId xmlns:a16="http://schemas.microsoft.com/office/drawing/2014/main" id="{BD6ED706-CE45-44B6-A65A-A135808EB2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681" y="6274118"/>
            <a:ext cx="44204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2408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r>
              <a:rPr lang="en-GB" noProof="0"/>
              <a:t>Add a slide title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977238" y="3839888"/>
            <a:ext cx="3115077" cy="1757171"/>
          </a:xfrm>
        </p:spPr>
        <p:txBody>
          <a:bodyPr vert="horz" lIns="0" tIns="0" rIns="0" bIns="0" anchor="t"/>
          <a:lstStyle>
            <a:lvl1pPr marL="342891" indent="-342891">
              <a:lnSpc>
                <a:spcPct val="90000"/>
              </a:lnSpc>
              <a:buFont typeface="Arial" panose="020B0604020202020204" pitchFamily="34" charset="0"/>
              <a:buChar char="•"/>
              <a:defRPr sz="1800"/>
            </a:lvl1pPr>
            <a:lvl2pPr marL="217483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Place your text here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en-GB" smtClean="0"/>
              <a:t>‹N›</a:t>
            </a:fld>
            <a:endParaRPr lang="en-GB"/>
          </a:p>
        </p:txBody>
      </p:sp>
      <p:sp>
        <p:nvSpPr>
          <p:cNvPr id="14" name="Tijdelijke aanduiding voor verticale tekst 2">
            <a:extLst>
              <a:ext uri="{FF2B5EF4-FFF2-40B4-BE49-F238E27FC236}">
                <a16:creationId xmlns:a16="http://schemas.microsoft.com/office/drawing/2014/main" id="{F0C786C0-9CA0-4949-A72E-59C8A44B393B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977237" y="992478"/>
            <a:ext cx="10653443" cy="384511"/>
          </a:xfrm>
        </p:spPr>
        <p:txBody>
          <a:bodyPr vert="horz" lIns="0" tIns="0" bIns="0" anchor="t"/>
          <a:lstStyle>
            <a:lvl1pPr marL="0" indent="0">
              <a:buNone/>
              <a:defRPr sz="3000">
                <a:solidFill>
                  <a:schemeClr val="accent2"/>
                </a:solidFill>
              </a:defRPr>
            </a:lvl1pPr>
            <a:lvl2pPr marL="217483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Subtitle</a:t>
            </a:r>
          </a:p>
        </p:txBody>
      </p:sp>
      <p:sp>
        <p:nvSpPr>
          <p:cNvPr id="23" name="Tijdelijke aanduiding voor verticale tekst 2">
            <a:extLst>
              <a:ext uri="{FF2B5EF4-FFF2-40B4-BE49-F238E27FC236}">
                <a16:creationId xmlns:a16="http://schemas.microsoft.com/office/drawing/2014/main" id="{96339AD9-CAC5-49CB-996A-E9D7DBC51D43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971711" y="3193229"/>
            <a:ext cx="2438240" cy="259425"/>
          </a:xfrm>
        </p:spPr>
        <p:txBody>
          <a:bodyPr vert="horz" lIns="0" tIns="0" rIns="0" bIns="0" anchor="b"/>
          <a:lstStyle>
            <a:lvl1pPr marL="0" indent="0">
              <a:lnSpc>
                <a:spcPct val="70000"/>
              </a:lnSpc>
              <a:buNone/>
              <a:defRPr sz="2000" b="1"/>
            </a:lvl1pPr>
            <a:lvl2pPr marL="217483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Place title here</a:t>
            </a:r>
          </a:p>
        </p:txBody>
      </p:sp>
      <p:sp>
        <p:nvSpPr>
          <p:cNvPr id="42" name="Tijdelijke aanduiding voor afbeelding 8">
            <a:extLst>
              <a:ext uri="{FF2B5EF4-FFF2-40B4-BE49-F238E27FC236}">
                <a16:creationId xmlns:a16="http://schemas.microsoft.com/office/drawing/2014/main" id="{5CCB634F-0162-4BE7-A794-F4D4CB1AB6B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77238" y="1428751"/>
            <a:ext cx="2489863" cy="1409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bIns="792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/>
              <a:t>Click the icon below </a:t>
            </a:r>
            <a:br>
              <a:rPr lang="en-GB"/>
            </a:br>
            <a:r>
              <a:rPr lang="en-GB"/>
              <a:t>to add an image.</a:t>
            </a:r>
          </a:p>
        </p:txBody>
      </p:sp>
      <p:sp>
        <p:nvSpPr>
          <p:cNvPr id="43" name="Tijdelijke aanduiding voor verticale tekst 2">
            <a:extLst>
              <a:ext uri="{FF2B5EF4-FFF2-40B4-BE49-F238E27FC236}">
                <a16:creationId xmlns:a16="http://schemas.microsoft.com/office/drawing/2014/main" id="{582ECC9D-653B-43BC-A6C9-08F547756368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4187163" y="3839888"/>
            <a:ext cx="3115077" cy="1757171"/>
          </a:xfrm>
        </p:spPr>
        <p:txBody>
          <a:bodyPr vert="horz" lIns="0" tIns="0" rIns="0" bIns="0" anchor="t"/>
          <a:lstStyle>
            <a:lvl1pPr marL="342891" indent="-342891">
              <a:lnSpc>
                <a:spcPct val="90000"/>
              </a:lnSpc>
              <a:buFont typeface="Arial" panose="020B0604020202020204" pitchFamily="34" charset="0"/>
              <a:buChar char="•"/>
              <a:defRPr sz="1800"/>
            </a:lvl1pPr>
            <a:lvl2pPr marL="217483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Place your text here</a:t>
            </a:r>
          </a:p>
        </p:txBody>
      </p:sp>
      <p:sp>
        <p:nvSpPr>
          <p:cNvPr id="44" name="Tijdelijke aanduiding voor verticale tekst 2">
            <a:extLst>
              <a:ext uri="{FF2B5EF4-FFF2-40B4-BE49-F238E27FC236}">
                <a16:creationId xmlns:a16="http://schemas.microsoft.com/office/drawing/2014/main" id="{E0656781-2D12-4E3B-B6A5-E97CB57A49A2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4181635" y="3193229"/>
            <a:ext cx="2438240" cy="259425"/>
          </a:xfrm>
        </p:spPr>
        <p:txBody>
          <a:bodyPr vert="horz" lIns="0" tIns="0" rIns="0" bIns="0" anchor="b"/>
          <a:lstStyle>
            <a:lvl1pPr marL="0" indent="0">
              <a:lnSpc>
                <a:spcPct val="70000"/>
              </a:lnSpc>
              <a:buNone/>
              <a:defRPr sz="2000" b="1"/>
            </a:lvl1pPr>
            <a:lvl2pPr marL="217483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Place title here</a:t>
            </a:r>
          </a:p>
        </p:txBody>
      </p:sp>
      <p:sp>
        <p:nvSpPr>
          <p:cNvPr id="45" name="Tijdelijke aanduiding voor afbeelding 8">
            <a:extLst>
              <a:ext uri="{FF2B5EF4-FFF2-40B4-BE49-F238E27FC236}">
                <a16:creationId xmlns:a16="http://schemas.microsoft.com/office/drawing/2014/main" id="{A48F1F38-1634-4266-87F9-A2E28B386FE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187163" y="1428751"/>
            <a:ext cx="2489863" cy="1409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bIns="792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/>
              <a:t>Click the icon below </a:t>
            </a:r>
            <a:br>
              <a:rPr lang="en-GB"/>
            </a:br>
            <a:r>
              <a:rPr lang="en-GB"/>
              <a:t>to add an image.</a:t>
            </a:r>
          </a:p>
        </p:txBody>
      </p:sp>
      <p:sp>
        <p:nvSpPr>
          <p:cNvPr id="46" name="Tijdelijke aanduiding voor verticale tekst 2">
            <a:extLst>
              <a:ext uri="{FF2B5EF4-FFF2-40B4-BE49-F238E27FC236}">
                <a16:creationId xmlns:a16="http://schemas.microsoft.com/office/drawing/2014/main" id="{BB72A58F-3B5D-45DD-A2CD-7BEB151FBED3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7449758" y="3839888"/>
            <a:ext cx="3115077" cy="1757171"/>
          </a:xfrm>
        </p:spPr>
        <p:txBody>
          <a:bodyPr vert="horz" lIns="0" tIns="0" rIns="0" bIns="0" anchor="t"/>
          <a:lstStyle>
            <a:lvl1pPr marL="342891" indent="-342891">
              <a:lnSpc>
                <a:spcPct val="90000"/>
              </a:lnSpc>
              <a:buFont typeface="Arial" panose="020B0604020202020204" pitchFamily="34" charset="0"/>
              <a:buChar char="•"/>
              <a:defRPr sz="1800"/>
            </a:lvl1pPr>
            <a:lvl2pPr marL="217483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Place your text here</a:t>
            </a:r>
          </a:p>
        </p:txBody>
      </p:sp>
      <p:sp>
        <p:nvSpPr>
          <p:cNvPr id="47" name="Tijdelijke aanduiding voor verticale tekst 2">
            <a:extLst>
              <a:ext uri="{FF2B5EF4-FFF2-40B4-BE49-F238E27FC236}">
                <a16:creationId xmlns:a16="http://schemas.microsoft.com/office/drawing/2014/main" id="{9E313CD9-B9B5-415D-AC63-99D8F54E1223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7444229" y="3193229"/>
            <a:ext cx="2438240" cy="259425"/>
          </a:xfrm>
        </p:spPr>
        <p:txBody>
          <a:bodyPr vert="horz" lIns="0" tIns="0" rIns="0" bIns="0" anchor="b"/>
          <a:lstStyle>
            <a:lvl1pPr marL="0" indent="0">
              <a:lnSpc>
                <a:spcPct val="70000"/>
              </a:lnSpc>
              <a:buNone/>
              <a:defRPr sz="2000" b="1"/>
            </a:lvl1pPr>
            <a:lvl2pPr marL="217483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Place title here</a:t>
            </a:r>
          </a:p>
        </p:txBody>
      </p:sp>
      <p:sp>
        <p:nvSpPr>
          <p:cNvPr id="48" name="Tijdelijke aanduiding voor afbeelding 8">
            <a:extLst>
              <a:ext uri="{FF2B5EF4-FFF2-40B4-BE49-F238E27FC236}">
                <a16:creationId xmlns:a16="http://schemas.microsoft.com/office/drawing/2014/main" id="{E52B4608-6906-413B-B534-F551F102D7F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7449758" y="1428751"/>
            <a:ext cx="2489863" cy="1409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bIns="792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/>
              <a:t>Click the icon below </a:t>
            </a:r>
            <a:br>
              <a:rPr lang="en-GB"/>
            </a:br>
            <a:r>
              <a:rPr lang="en-GB"/>
              <a:t>to add an image.</a:t>
            </a:r>
          </a:p>
        </p:txBody>
      </p:sp>
    </p:spTree>
    <p:extLst>
      <p:ext uri="{BB962C8B-B14F-4D97-AF65-F5344CB8AC3E}">
        <p14:creationId xmlns:p14="http://schemas.microsoft.com/office/powerpoint/2010/main" val="2830806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977282" y="607966"/>
            <a:ext cx="10653439" cy="384511"/>
          </a:xfrm>
        </p:spPr>
        <p:txBody>
          <a:bodyPr lIns="0" tIns="0" bIns="0"/>
          <a:lstStyle>
            <a:lvl1pPr>
              <a:defRPr/>
            </a:lvl1pPr>
          </a:lstStyle>
          <a:p>
            <a:r>
              <a:rPr lang="en-GB" noProof="0"/>
              <a:t>Add a slide title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977239" y="1591900"/>
            <a:ext cx="5001363" cy="4005157"/>
          </a:xfrm>
        </p:spPr>
        <p:txBody>
          <a:bodyPr vert="horz" lIns="0" tIns="0" b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here to add text. Need additional help? PPT Solutions has added extra instructions to the sides of the slides to help style- and process your text.</a:t>
            </a:r>
          </a:p>
          <a:p>
            <a:pPr lvl="1"/>
            <a:r>
              <a:rPr lang="en-GB" noProof="0"/>
              <a:t>Sub-bullet</a:t>
            </a:r>
          </a:p>
          <a:p>
            <a:pPr lvl="2"/>
            <a:r>
              <a:rPr lang="en-GB" noProof="0"/>
              <a:t>Default text</a:t>
            </a:r>
          </a:p>
          <a:p>
            <a:pPr lvl="3"/>
            <a:r>
              <a:rPr lang="en-GB" noProof="0"/>
              <a:t>Subtitle</a:t>
            </a:r>
          </a:p>
          <a:p>
            <a:pPr lvl="4"/>
            <a:r>
              <a:rPr lang="en-GB" noProof="0"/>
              <a:t>Numerical bullet</a:t>
            </a:r>
          </a:p>
          <a:p>
            <a:pPr lvl="5"/>
            <a:r>
              <a:rPr lang="en-GB" noProof="0"/>
              <a:t>Bullet</a:t>
            </a:r>
          </a:p>
          <a:p>
            <a:pPr lvl="6"/>
            <a:r>
              <a:rPr lang="en-GB" noProof="0"/>
              <a:t>Sub-bullet</a:t>
            </a:r>
          </a:p>
          <a:p>
            <a:pPr lvl="7"/>
            <a:r>
              <a:rPr lang="en-GB" noProof="0"/>
              <a:t>Default text</a:t>
            </a:r>
          </a:p>
          <a:p>
            <a:pPr lvl="8"/>
            <a:r>
              <a:rPr lang="en-GB" noProof="0"/>
              <a:t>Subtitle</a:t>
            </a:r>
          </a:p>
        </p:txBody>
      </p:sp>
      <p:sp>
        <p:nvSpPr>
          <p:cNvPr id="87" name="Tijdelijke aanduiding voor afbeelding 8"/>
          <p:cNvSpPr>
            <a:spLocks noGrp="1"/>
          </p:cNvSpPr>
          <p:nvPr>
            <p:ph type="pic" sz="quarter" idx="14" hasCustomPrompt="1"/>
          </p:nvPr>
        </p:nvSpPr>
        <p:spPr>
          <a:xfrm>
            <a:off x="6629400" y="1314450"/>
            <a:ext cx="5562600" cy="554355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/>
              <a:t>Click the icon below </a:t>
            </a:r>
            <a:br>
              <a:rPr lang="en-GB"/>
            </a:br>
            <a:r>
              <a:rPr lang="en-GB"/>
              <a:t>to add an image.</a:t>
            </a:r>
            <a:br>
              <a:rPr lang="en-GB"/>
            </a:br>
            <a:br>
              <a:rPr lang="en-GB"/>
            </a:br>
            <a:r>
              <a:rPr lang="en-GB"/>
              <a:t>Need additional help?</a:t>
            </a:r>
            <a:br>
              <a:rPr lang="en-GB"/>
            </a:br>
            <a:r>
              <a:rPr lang="en-GB"/>
              <a:t>To the side of the slides we’ve placed extra</a:t>
            </a:r>
            <a:br>
              <a:rPr lang="en-GB"/>
            </a:br>
            <a:r>
              <a:rPr lang="en-GB"/>
              <a:t> instructions how to process content. 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17" name="Tijdelijke aanduiding voor verticale tekst 2">
            <a:extLst>
              <a:ext uri="{FF2B5EF4-FFF2-40B4-BE49-F238E27FC236}">
                <a16:creationId xmlns:a16="http://schemas.microsoft.com/office/drawing/2014/main" id="{EDF5F569-4A87-451E-A00C-CDD8D4BB4AAD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977239" y="992478"/>
            <a:ext cx="5001363" cy="384511"/>
          </a:xfrm>
        </p:spPr>
        <p:txBody>
          <a:bodyPr vert="horz" lIns="0" tIns="0" bIns="0" anchor="t"/>
          <a:lstStyle>
            <a:lvl1pPr marL="0" indent="0">
              <a:buNone/>
              <a:defRPr sz="3000">
                <a:solidFill>
                  <a:schemeClr val="accent2"/>
                </a:solidFill>
              </a:defRPr>
            </a:lvl1pPr>
            <a:lvl2pPr marL="217483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650751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977281" y="607966"/>
            <a:ext cx="5002091" cy="384511"/>
          </a:xfrm>
        </p:spPr>
        <p:txBody>
          <a:bodyPr lIns="0" tIns="0" bIns="0"/>
          <a:lstStyle>
            <a:lvl1pPr>
              <a:defRPr/>
            </a:lvl1pPr>
          </a:lstStyle>
          <a:p>
            <a:r>
              <a:rPr lang="en-GB" noProof="0"/>
              <a:t>Add a slide title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977239" y="1591900"/>
            <a:ext cx="5001363" cy="4005157"/>
          </a:xfrm>
        </p:spPr>
        <p:txBody>
          <a:bodyPr vert="horz" lIns="0" tIns="0" b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Click here to add text. Need additional help? PPT Solutions has added extra instructions to the sides of the slides to help style- and process your text.</a:t>
            </a:r>
          </a:p>
          <a:p>
            <a:pPr lvl="1"/>
            <a:r>
              <a:rPr lang="en-GB" noProof="0"/>
              <a:t>Sub-bullet</a:t>
            </a:r>
          </a:p>
          <a:p>
            <a:pPr lvl="2"/>
            <a:r>
              <a:rPr lang="en-GB" noProof="0"/>
              <a:t>Default text</a:t>
            </a:r>
          </a:p>
          <a:p>
            <a:pPr lvl="3"/>
            <a:r>
              <a:rPr lang="en-GB" noProof="0"/>
              <a:t>Subtitle</a:t>
            </a:r>
          </a:p>
          <a:p>
            <a:pPr lvl="4"/>
            <a:r>
              <a:rPr lang="en-GB" noProof="0"/>
              <a:t>Numerical bullet</a:t>
            </a:r>
          </a:p>
          <a:p>
            <a:pPr lvl="5"/>
            <a:r>
              <a:rPr lang="en-GB" noProof="0"/>
              <a:t>Bullet</a:t>
            </a:r>
          </a:p>
          <a:p>
            <a:pPr lvl="6"/>
            <a:r>
              <a:rPr lang="en-GB" noProof="0"/>
              <a:t>Sub-bullet</a:t>
            </a:r>
          </a:p>
          <a:p>
            <a:pPr lvl="7"/>
            <a:r>
              <a:rPr lang="en-GB" noProof="0"/>
              <a:t>Default text</a:t>
            </a:r>
          </a:p>
          <a:p>
            <a:pPr lvl="8"/>
            <a:r>
              <a:rPr lang="en-GB" noProof="0"/>
              <a:t>Subtitle</a:t>
            </a:r>
          </a:p>
        </p:txBody>
      </p:sp>
      <p:sp>
        <p:nvSpPr>
          <p:cNvPr id="87" name="Tijdelijke aanduiding voor afbeelding 8"/>
          <p:cNvSpPr>
            <a:spLocks noGrp="1"/>
          </p:cNvSpPr>
          <p:nvPr>
            <p:ph type="pic" sz="quarter" idx="14" hasCustomPrompt="1"/>
          </p:nvPr>
        </p:nvSpPr>
        <p:spPr>
          <a:xfrm>
            <a:off x="6629400" y="0"/>
            <a:ext cx="55626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/>
              <a:t>Click the icon below </a:t>
            </a:r>
            <a:br>
              <a:rPr lang="en-GB"/>
            </a:br>
            <a:r>
              <a:rPr lang="en-GB"/>
              <a:t>to add an image.</a:t>
            </a:r>
            <a:br>
              <a:rPr lang="en-GB"/>
            </a:br>
            <a:br>
              <a:rPr lang="en-GB"/>
            </a:br>
            <a:r>
              <a:rPr lang="en-GB"/>
              <a:t>Need additional help?</a:t>
            </a:r>
            <a:br>
              <a:rPr lang="en-GB"/>
            </a:br>
            <a:r>
              <a:rPr lang="en-GB"/>
              <a:t>To the side of the slides we’ve placed extra</a:t>
            </a:r>
            <a:br>
              <a:rPr lang="en-GB"/>
            </a:br>
            <a:r>
              <a:rPr lang="en-GB"/>
              <a:t> instructions how to process content. 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17" name="Tijdelijke aanduiding voor verticale tekst 2">
            <a:extLst>
              <a:ext uri="{FF2B5EF4-FFF2-40B4-BE49-F238E27FC236}">
                <a16:creationId xmlns:a16="http://schemas.microsoft.com/office/drawing/2014/main" id="{EDF5F569-4A87-451E-A00C-CDD8D4BB4AAD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977239" y="992478"/>
            <a:ext cx="5001363" cy="384511"/>
          </a:xfrm>
        </p:spPr>
        <p:txBody>
          <a:bodyPr vert="horz" lIns="0" tIns="0" bIns="0" anchor="t"/>
          <a:lstStyle>
            <a:lvl1pPr marL="0" indent="0">
              <a:buNone/>
              <a:defRPr sz="3000">
                <a:solidFill>
                  <a:schemeClr val="accent2"/>
                </a:solidFill>
              </a:defRPr>
            </a:lvl1pPr>
            <a:lvl2pPr marL="217483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7565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raphic 12">
            <a:extLst>
              <a:ext uri="{FF2B5EF4-FFF2-40B4-BE49-F238E27FC236}">
                <a16:creationId xmlns:a16="http://schemas.microsoft.com/office/drawing/2014/main" id="{ED5A55CD-6CAF-4D7C-AF10-895CA7526B23}"/>
              </a:ext>
            </a:extLst>
          </p:cNvPr>
          <p:cNvSpPr/>
          <p:nvPr userDrawn="1"/>
        </p:nvSpPr>
        <p:spPr>
          <a:xfrm rot="17820000" flipV="1">
            <a:off x="3945233" y="1248685"/>
            <a:ext cx="4786075" cy="5096281"/>
          </a:xfrm>
          <a:custGeom>
            <a:avLst/>
            <a:gdLst>
              <a:gd name="connsiteX0" fmla="*/ 3288083 w 5210478"/>
              <a:gd name="connsiteY0" fmla="*/ 28935 h 5548193"/>
              <a:gd name="connsiteX1" fmla="*/ 3167591 w 5210478"/>
              <a:gd name="connsiteY1" fmla="*/ 130757 h 5548193"/>
              <a:gd name="connsiteX2" fmla="*/ 45391 w 5210478"/>
              <a:gd name="connsiteY2" fmla="*/ 2660597 h 5548193"/>
              <a:gd name="connsiteX3" fmla="*/ 2529 w 5210478"/>
              <a:gd name="connsiteY3" fmla="*/ 2780612 h 5548193"/>
              <a:gd name="connsiteX4" fmla="*/ 556027 w 5210478"/>
              <a:gd name="connsiteY4" fmla="*/ 5450565 h 5548193"/>
              <a:gd name="connsiteX5" fmla="*/ 700807 w 5210478"/>
              <a:gd name="connsiteY5" fmla="*/ 5545624 h 5548193"/>
              <a:gd name="connsiteX6" fmla="*/ 5112787 w 5210478"/>
              <a:gd name="connsiteY6" fmla="*/ 4631415 h 5548193"/>
              <a:gd name="connsiteX7" fmla="*/ 5207846 w 5210478"/>
              <a:gd name="connsiteY7" fmla="*/ 4486350 h 5548193"/>
              <a:gd name="connsiteX8" fmla="*/ 4907333 w 5210478"/>
              <a:gd name="connsiteY8" fmla="*/ 3052265 h 5548193"/>
              <a:gd name="connsiteX9" fmla="*/ 3564879 w 5210478"/>
              <a:gd name="connsiteY9" fmla="*/ 161713 h 5548193"/>
              <a:gd name="connsiteX10" fmla="*/ 3459152 w 5210478"/>
              <a:gd name="connsiteY10" fmla="*/ 41603 h 5548193"/>
              <a:gd name="connsiteX11" fmla="*/ 3288083 w 5210478"/>
              <a:gd name="connsiteY11" fmla="*/ 28935 h 5548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210478" h="5548193">
                <a:moveTo>
                  <a:pt x="3288083" y="28935"/>
                </a:moveTo>
                <a:lnTo>
                  <a:pt x="3167591" y="130757"/>
                </a:lnTo>
                <a:lnTo>
                  <a:pt x="45391" y="2660597"/>
                </a:lnTo>
                <a:cubicBezTo>
                  <a:pt x="9768" y="2689458"/>
                  <a:pt x="-6710" y="2735750"/>
                  <a:pt x="2529" y="2780612"/>
                </a:cubicBezTo>
                <a:lnTo>
                  <a:pt x="556027" y="5450565"/>
                </a:lnTo>
                <a:cubicBezTo>
                  <a:pt x="569743" y="5516764"/>
                  <a:pt x="634608" y="5559340"/>
                  <a:pt x="700807" y="5545624"/>
                </a:cubicBezTo>
                <a:lnTo>
                  <a:pt x="5112787" y="4631415"/>
                </a:lnTo>
                <a:cubicBezTo>
                  <a:pt x="5179176" y="4617699"/>
                  <a:pt x="5221753" y="4552643"/>
                  <a:pt x="5207846" y="4486350"/>
                </a:cubicBezTo>
                <a:lnTo>
                  <a:pt x="4907333" y="3052265"/>
                </a:lnTo>
                <a:cubicBezTo>
                  <a:pt x="4663112" y="1855925"/>
                  <a:pt x="4207436" y="890947"/>
                  <a:pt x="3564879" y="161713"/>
                </a:cubicBezTo>
                <a:lnTo>
                  <a:pt x="3459152" y="41603"/>
                </a:lnTo>
                <a:cubicBezTo>
                  <a:pt x="3415051" y="-8498"/>
                  <a:pt x="3339041" y="-14118"/>
                  <a:pt x="3288083" y="28935"/>
                </a:cubicBezTo>
                <a:close/>
              </a:path>
            </a:pathLst>
          </a:custGeom>
          <a:noFill/>
          <a:ln w="9525" cap="flat">
            <a:solidFill>
              <a:schemeClr val="accent4">
                <a:lumMod val="20000"/>
                <a:lumOff val="8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GB" sz="180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en-GB" smtClean="0"/>
              <a:t>‹N›</a:t>
            </a:fld>
            <a:endParaRPr lang="en-GB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1253528" y="1852851"/>
            <a:ext cx="9684947" cy="3152301"/>
          </a:xfrm>
        </p:spPr>
        <p:txBody>
          <a:bodyPr anchor="ctr"/>
          <a:lstStyle>
            <a:lvl1pPr algn="ctr">
              <a:defRPr sz="4000"/>
            </a:lvl1pPr>
          </a:lstStyle>
          <a:p>
            <a:r>
              <a:rPr lang="en-GB" noProof="0"/>
              <a:t>Place your text or quote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6639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DAF7F0BE-1368-471B-96B8-BC58087E4A1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Graphic 12">
            <a:extLst>
              <a:ext uri="{FF2B5EF4-FFF2-40B4-BE49-F238E27FC236}">
                <a16:creationId xmlns:a16="http://schemas.microsoft.com/office/drawing/2014/main" id="{ED5A55CD-6CAF-4D7C-AF10-895CA7526B23}"/>
              </a:ext>
            </a:extLst>
          </p:cNvPr>
          <p:cNvSpPr/>
          <p:nvPr userDrawn="1"/>
        </p:nvSpPr>
        <p:spPr>
          <a:xfrm rot="17820000" flipV="1">
            <a:off x="3945233" y="1248685"/>
            <a:ext cx="4786075" cy="5096281"/>
          </a:xfrm>
          <a:custGeom>
            <a:avLst/>
            <a:gdLst>
              <a:gd name="connsiteX0" fmla="*/ 3288083 w 5210478"/>
              <a:gd name="connsiteY0" fmla="*/ 28935 h 5548193"/>
              <a:gd name="connsiteX1" fmla="*/ 3167591 w 5210478"/>
              <a:gd name="connsiteY1" fmla="*/ 130757 h 5548193"/>
              <a:gd name="connsiteX2" fmla="*/ 45391 w 5210478"/>
              <a:gd name="connsiteY2" fmla="*/ 2660597 h 5548193"/>
              <a:gd name="connsiteX3" fmla="*/ 2529 w 5210478"/>
              <a:gd name="connsiteY3" fmla="*/ 2780612 h 5548193"/>
              <a:gd name="connsiteX4" fmla="*/ 556027 w 5210478"/>
              <a:gd name="connsiteY4" fmla="*/ 5450565 h 5548193"/>
              <a:gd name="connsiteX5" fmla="*/ 700807 w 5210478"/>
              <a:gd name="connsiteY5" fmla="*/ 5545624 h 5548193"/>
              <a:gd name="connsiteX6" fmla="*/ 5112787 w 5210478"/>
              <a:gd name="connsiteY6" fmla="*/ 4631415 h 5548193"/>
              <a:gd name="connsiteX7" fmla="*/ 5207846 w 5210478"/>
              <a:gd name="connsiteY7" fmla="*/ 4486350 h 5548193"/>
              <a:gd name="connsiteX8" fmla="*/ 4907333 w 5210478"/>
              <a:gd name="connsiteY8" fmla="*/ 3052265 h 5548193"/>
              <a:gd name="connsiteX9" fmla="*/ 3564879 w 5210478"/>
              <a:gd name="connsiteY9" fmla="*/ 161713 h 5548193"/>
              <a:gd name="connsiteX10" fmla="*/ 3459152 w 5210478"/>
              <a:gd name="connsiteY10" fmla="*/ 41603 h 5548193"/>
              <a:gd name="connsiteX11" fmla="*/ 3288083 w 5210478"/>
              <a:gd name="connsiteY11" fmla="*/ 28935 h 5548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210478" h="5548193">
                <a:moveTo>
                  <a:pt x="3288083" y="28935"/>
                </a:moveTo>
                <a:lnTo>
                  <a:pt x="3167591" y="130757"/>
                </a:lnTo>
                <a:lnTo>
                  <a:pt x="45391" y="2660597"/>
                </a:lnTo>
                <a:cubicBezTo>
                  <a:pt x="9768" y="2689458"/>
                  <a:pt x="-6710" y="2735750"/>
                  <a:pt x="2529" y="2780612"/>
                </a:cubicBezTo>
                <a:lnTo>
                  <a:pt x="556027" y="5450565"/>
                </a:lnTo>
                <a:cubicBezTo>
                  <a:pt x="569743" y="5516764"/>
                  <a:pt x="634608" y="5559340"/>
                  <a:pt x="700807" y="5545624"/>
                </a:cubicBezTo>
                <a:lnTo>
                  <a:pt x="5112787" y="4631415"/>
                </a:lnTo>
                <a:cubicBezTo>
                  <a:pt x="5179176" y="4617699"/>
                  <a:pt x="5221753" y="4552643"/>
                  <a:pt x="5207846" y="4486350"/>
                </a:cubicBezTo>
                <a:lnTo>
                  <a:pt x="4907333" y="3052265"/>
                </a:lnTo>
                <a:cubicBezTo>
                  <a:pt x="4663112" y="1855925"/>
                  <a:pt x="4207436" y="890947"/>
                  <a:pt x="3564879" y="161713"/>
                </a:cubicBezTo>
                <a:lnTo>
                  <a:pt x="3459152" y="41603"/>
                </a:lnTo>
                <a:cubicBezTo>
                  <a:pt x="3415051" y="-8498"/>
                  <a:pt x="3339041" y="-14118"/>
                  <a:pt x="3288083" y="28935"/>
                </a:cubicBezTo>
                <a:close/>
              </a:path>
            </a:pathLst>
          </a:custGeom>
          <a:noFill/>
          <a:ln w="9525" cap="flat">
            <a:solidFill>
              <a:srgbClr val="B7ADE4">
                <a:alpha val="2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 sz="180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1253528" y="1852851"/>
            <a:ext cx="9684947" cy="3152301"/>
          </a:xfr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Place your text or quote here</a:t>
            </a:r>
            <a:endParaRPr lang="en-GB"/>
          </a:p>
        </p:txBody>
      </p:sp>
      <p:grpSp>
        <p:nvGrpSpPr>
          <p:cNvPr id="26" name="Graphic 17">
            <a:extLst>
              <a:ext uri="{FF2B5EF4-FFF2-40B4-BE49-F238E27FC236}">
                <a16:creationId xmlns:a16="http://schemas.microsoft.com/office/drawing/2014/main" id="{FDE727B4-B8C6-4AAF-99EF-12A734725878}"/>
              </a:ext>
            </a:extLst>
          </p:cNvPr>
          <p:cNvGrpSpPr/>
          <p:nvPr userDrawn="1"/>
        </p:nvGrpSpPr>
        <p:grpSpPr>
          <a:xfrm>
            <a:off x="696137" y="6432478"/>
            <a:ext cx="1356871" cy="99501"/>
            <a:chOff x="4557712" y="3314700"/>
            <a:chExt cx="3074479" cy="225456"/>
          </a:xfrm>
          <a:solidFill>
            <a:schemeClr val="bg1"/>
          </a:solidFill>
        </p:grpSpPr>
        <p:sp>
          <p:nvSpPr>
            <p:cNvPr id="27" name="Vrije vorm: vorm 26">
              <a:extLst>
                <a:ext uri="{FF2B5EF4-FFF2-40B4-BE49-F238E27FC236}">
                  <a16:creationId xmlns:a16="http://schemas.microsoft.com/office/drawing/2014/main" id="{D67A0EBC-0B43-46DE-8587-2E490BBE2FBB}"/>
                </a:ext>
              </a:extLst>
            </p:cNvPr>
            <p:cNvSpPr/>
            <p:nvPr/>
          </p:nvSpPr>
          <p:spPr>
            <a:xfrm>
              <a:off x="4557712" y="3316033"/>
              <a:ext cx="157448" cy="220218"/>
            </a:xfrm>
            <a:custGeom>
              <a:avLst/>
              <a:gdLst>
                <a:gd name="connsiteX0" fmla="*/ 116205 w 157448"/>
                <a:gd name="connsiteY0" fmla="*/ 103346 h 220218"/>
                <a:gd name="connsiteX1" fmla="*/ 116205 w 157448"/>
                <a:gd name="connsiteY1" fmla="*/ 102013 h 220218"/>
                <a:gd name="connsiteX2" fmla="*/ 146209 w 157448"/>
                <a:gd name="connsiteY2" fmla="*/ 54197 h 220218"/>
                <a:gd name="connsiteX3" fmla="*/ 68961 w 157448"/>
                <a:gd name="connsiteY3" fmla="*/ 0 h 220218"/>
                <a:gd name="connsiteX4" fmla="*/ 0 w 157448"/>
                <a:gd name="connsiteY4" fmla="*/ 0 h 220218"/>
                <a:gd name="connsiteX5" fmla="*/ 0 w 157448"/>
                <a:gd name="connsiteY5" fmla="*/ 220218 h 220218"/>
                <a:gd name="connsiteX6" fmla="*/ 74581 w 157448"/>
                <a:gd name="connsiteY6" fmla="*/ 220218 h 220218"/>
                <a:gd name="connsiteX7" fmla="*/ 157448 w 157448"/>
                <a:gd name="connsiteY7" fmla="*/ 155543 h 220218"/>
                <a:gd name="connsiteX8" fmla="*/ 116205 w 157448"/>
                <a:gd name="connsiteY8" fmla="*/ 103346 h 220218"/>
                <a:gd name="connsiteX9" fmla="*/ 38291 w 157448"/>
                <a:gd name="connsiteY9" fmla="*/ 30290 h 220218"/>
                <a:gd name="connsiteX10" fmla="*/ 66389 w 157448"/>
                <a:gd name="connsiteY10" fmla="*/ 30290 h 220218"/>
                <a:gd name="connsiteX11" fmla="*/ 108680 w 157448"/>
                <a:gd name="connsiteY11" fmla="*/ 59912 h 220218"/>
                <a:gd name="connsiteX12" fmla="*/ 65818 w 157448"/>
                <a:gd name="connsiteY12" fmla="*/ 90869 h 220218"/>
                <a:gd name="connsiteX13" fmla="*/ 38291 w 157448"/>
                <a:gd name="connsiteY13" fmla="*/ 90869 h 220218"/>
                <a:gd name="connsiteX14" fmla="*/ 38291 w 157448"/>
                <a:gd name="connsiteY14" fmla="*/ 30290 h 220218"/>
                <a:gd name="connsiteX15" fmla="*/ 70676 w 157448"/>
                <a:gd name="connsiteY15" fmla="*/ 189833 h 220218"/>
                <a:gd name="connsiteX16" fmla="*/ 38291 w 157448"/>
                <a:gd name="connsiteY16" fmla="*/ 189833 h 220218"/>
                <a:gd name="connsiteX17" fmla="*/ 38291 w 157448"/>
                <a:gd name="connsiteY17" fmla="*/ 120110 h 220218"/>
                <a:gd name="connsiteX18" fmla="*/ 70676 w 157448"/>
                <a:gd name="connsiteY18" fmla="*/ 120110 h 220218"/>
                <a:gd name="connsiteX19" fmla="*/ 120206 w 157448"/>
                <a:gd name="connsiteY19" fmla="*/ 153448 h 220218"/>
                <a:gd name="connsiteX20" fmla="*/ 70676 w 157448"/>
                <a:gd name="connsiteY20" fmla="*/ 189833 h 220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57448" h="220218">
                  <a:moveTo>
                    <a:pt x="116205" y="103346"/>
                  </a:moveTo>
                  <a:lnTo>
                    <a:pt x="116205" y="102013"/>
                  </a:lnTo>
                  <a:cubicBezTo>
                    <a:pt x="135065" y="95250"/>
                    <a:pt x="146209" y="75057"/>
                    <a:pt x="146209" y="54197"/>
                  </a:cubicBezTo>
                  <a:cubicBezTo>
                    <a:pt x="146209" y="13811"/>
                    <a:pt x="113538" y="0"/>
                    <a:pt x="68961" y="0"/>
                  </a:cubicBezTo>
                  <a:lnTo>
                    <a:pt x="0" y="0"/>
                  </a:lnTo>
                  <a:lnTo>
                    <a:pt x="0" y="220218"/>
                  </a:lnTo>
                  <a:lnTo>
                    <a:pt x="74581" y="220218"/>
                  </a:lnTo>
                  <a:cubicBezTo>
                    <a:pt x="122111" y="220218"/>
                    <a:pt x="157448" y="199644"/>
                    <a:pt x="157448" y="155543"/>
                  </a:cubicBezTo>
                  <a:cubicBezTo>
                    <a:pt x="157448" y="125921"/>
                    <a:pt x="139922" y="108680"/>
                    <a:pt x="116205" y="103346"/>
                  </a:cubicBezTo>
                  <a:close/>
                  <a:moveTo>
                    <a:pt x="38291" y="30290"/>
                  </a:moveTo>
                  <a:lnTo>
                    <a:pt x="66389" y="30290"/>
                  </a:lnTo>
                  <a:cubicBezTo>
                    <a:pt x="94488" y="30290"/>
                    <a:pt x="108680" y="38386"/>
                    <a:pt x="108680" y="59912"/>
                  </a:cubicBezTo>
                  <a:cubicBezTo>
                    <a:pt x="108680" y="78772"/>
                    <a:pt x="95822" y="90869"/>
                    <a:pt x="65818" y="90869"/>
                  </a:cubicBezTo>
                  <a:lnTo>
                    <a:pt x="38291" y="90869"/>
                  </a:lnTo>
                  <a:lnTo>
                    <a:pt x="38291" y="30290"/>
                  </a:lnTo>
                  <a:close/>
                  <a:moveTo>
                    <a:pt x="70676" y="189833"/>
                  </a:moveTo>
                  <a:lnTo>
                    <a:pt x="38291" y="189833"/>
                  </a:lnTo>
                  <a:lnTo>
                    <a:pt x="38291" y="120110"/>
                  </a:lnTo>
                  <a:lnTo>
                    <a:pt x="70676" y="120110"/>
                  </a:lnTo>
                  <a:cubicBezTo>
                    <a:pt x="103061" y="120110"/>
                    <a:pt x="120206" y="130207"/>
                    <a:pt x="120206" y="153448"/>
                  </a:cubicBezTo>
                  <a:cubicBezTo>
                    <a:pt x="120110" y="178118"/>
                    <a:pt x="102299" y="189833"/>
                    <a:pt x="70676" y="18983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8" name="Vrije vorm: vorm 27">
              <a:extLst>
                <a:ext uri="{FF2B5EF4-FFF2-40B4-BE49-F238E27FC236}">
                  <a16:creationId xmlns:a16="http://schemas.microsoft.com/office/drawing/2014/main" id="{54FFFA50-4050-4357-933D-80849754B0E8}"/>
                </a:ext>
              </a:extLst>
            </p:cNvPr>
            <p:cNvSpPr/>
            <p:nvPr/>
          </p:nvSpPr>
          <p:spPr>
            <a:xfrm>
              <a:off x="4758118" y="3315938"/>
              <a:ext cx="162686" cy="220218"/>
            </a:xfrm>
            <a:custGeom>
              <a:avLst/>
              <a:gdLst>
                <a:gd name="connsiteX0" fmla="*/ 57721 w 162686"/>
                <a:gd name="connsiteY0" fmla="*/ 0 h 220218"/>
                <a:gd name="connsiteX1" fmla="*/ 0 w 162686"/>
                <a:gd name="connsiteY1" fmla="*/ 0 h 220218"/>
                <a:gd name="connsiteX2" fmla="*/ 0 w 162686"/>
                <a:gd name="connsiteY2" fmla="*/ 220218 h 220218"/>
                <a:gd name="connsiteX3" fmla="*/ 59722 w 162686"/>
                <a:gd name="connsiteY3" fmla="*/ 220218 h 220218"/>
                <a:gd name="connsiteX4" fmla="*/ 162687 w 162686"/>
                <a:gd name="connsiteY4" fmla="*/ 109061 h 220218"/>
                <a:gd name="connsiteX5" fmla="*/ 57721 w 162686"/>
                <a:gd name="connsiteY5" fmla="*/ 0 h 220218"/>
                <a:gd name="connsiteX6" fmla="*/ 55054 w 162686"/>
                <a:gd name="connsiteY6" fmla="*/ 188595 h 220218"/>
                <a:gd name="connsiteX7" fmla="*/ 38195 w 162686"/>
                <a:gd name="connsiteY7" fmla="*/ 188595 h 220218"/>
                <a:gd name="connsiteX8" fmla="*/ 38195 w 162686"/>
                <a:gd name="connsiteY8" fmla="*/ 31718 h 220218"/>
                <a:gd name="connsiteX9" fmla="*/ 55054 w 162686"/>
                <a:gd name="connsiteY9" fmla="*/ 31718 h 220218"/>
                <a:gd name="connsiteX10" fmla="*/ 123349 w 162686"/>
                <a:gd name="connsiteY10" fmla="*/ 109157 h 220218"/>
                <a:gd name="connsiteX11" fmla="*/ 55054 w 162686"/>
                <a:gd name="connsiteY11" fmla="*/ 188595 h 220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2686" h="220218">
                  <a:moveTo>
                    <a:pt x="57721" y="0"/>
                  </a:moveTo>
                  <a:lnTo>
                    <a:pt x="0" y="0"/>
                  </a:lnTo>
                  <a:lnTo>
                    <a:pt x="0" y="220218"/>
                  </a:lnTo>
                  <a:lnTo>
                    <a:pt x="59722" y="220218"/>
                  </a:lnTo>
                  <a:cubicBezTo>
                    <a:pt x="123730" y="220218"/>
                    <a:pt x="162687" y="182118"/>
                    <a:pt x="162687" y="109061"/>
                  </a:cubicBezTo>
                  <a:cubicBezTo>
                    <a:pt x="162687" y="36386"/>
                    <a:pt x="123730" y="0"/>
                    <a:pt x="57721" y="0"/>
                  </a:cubicBezTo>
                  <a:close/>
                  <a:moveTo>
                    <a:pt x="55054" y="188595"/>
                  </a:moveTo>
                  <a:lnTo>
                    <a:pt x="38195" y="188595"/>
                  </a:lnTo>
                  <a:lnTo>
                    <a:pt x="38195" y="31718"/>
                  </a:lnTo>
                  <a:lnTo>
                    <a:pt x="55054" y="31718"/>
                  </a:lnTo>
                  <a:cubicBezTo>
                    <a:pt x="98584" y="31718"/>
                    <a:pt x="123349" y="55245"/>
                    <a:pt x="123349" y="109157"/>
                  </a:cubicBezTo>
                  <a:cubicBezTo>
                    <a:pt x="123444" y="163354"/>
                    <a:pt x="98679" y="188595"/>
                    <a:pt x="55054" y="18859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9" name="Vrije vorm: vorm 28">
              <a:extLst>
                <a:ext uri="{FF2B5EF4-FFF2-40B4-BE49-F238E27FC236}">
                  <a16:creationId xmlns:a16="http://schemas.microsoft.com/office/drawing/2014/main" id="{ECFF7081-5364-4993-90BA-08971F6548AA}"/>
                </a:ext>
              </a:extLst>
            </p:cNvPr>
            <p:cNvSpPr/>
            <p:nvPr/>
          </p:nvSpPr>
          <p:spPr>
            <a:xfrm>
              <a:off x="4967382" y="3315938"/>
              <a:ext cx="160782" cy="220218"/>
            </a:xfrm>
            <a:custGeom>
              <a:avLst/>
              <a:gdLst>
                <a:gd name="connsiteX0" fmla="*/ 152210 w 160782"/>
                <a:gd name="connsiteY0" fmla="*/ 65341 h 220218"/>
                <a:gd name="connsiteX1" fmla="*/ 72962 w 160782"/>
                <a:gd name="connsiteY1" fmla="*/ 0 h 220218"/>
                <a:gd name="connsiteX2" fmla="*/ 0 w 160782"/>
                <a:gd name="connsiteY2" fmla="*/ 0 h 220218"/>
                <a:gd name="connsiteX3" fmla="*/ 0 w 160782"/>
                <a:gd name="connsiteY3" fmla="*/ 220218 h 220218"/>
                <a:gd name="connsiteX4" fmla="*/ 38291 w 160782"/>
                <a:gd name="connsiteY4" fmla="*/ 220218 h 220218"/>
                <a:gd name="connsiteX5" fmla="*/ 38291 w 160782"/>
                <a:gd name="connsiteY5" fmla="*/ 134017 h 220218"/>
                <a:gd name="connsiteX6" fmla="*/ 71342 w 160782"/>
                <a:gd name="connsiteY6" fmla="*/ 134017 h 220218"/>
                <a:gd name="connsiteX7" fmla="*/ 117920 w 160782"/>
                <a:gd name="connsiteY7" fmla="*/ 220218 h 220218"/>
                <a:gd name="connsiteX8" fmla="*/ 160782 w 160782"/>
                <a:gd name="connsiteY8" fmla="*/ 220218 h 220218"/>
                <a:gd name="connsiteX9" fmla="*/ 109252 w 160782"/>
                <a:gd name="connsiteY9" fmla="*/ 128302 h 220218"/>
                <a:gd name="connsiteX10" fmla="*/ 152210 w 160782"/>
                <a:gd name="connsiteY10" fmla="*/ 65341 h 220218"/>
                <a:gd name="connsiteX11" fmla="*/ 68961 w 160782"/>
                <a:gd name="connsiteY11" fmla="*/ 103061 h 220218"/>
                <a:gd name="connsiteX12" fmla="*/ 38291 w 160782"/>
                <a:gd name="connsiteY12" fmla="*/ 103061 h 220218"/>
                <a:gd name="connsiteX13" fmla="*/ 38291 w 160782"/>
                <a:gd name="connsiteY13" fmla="*/ 31337 h 220218"/>
                <a:gd name="connsiteX14" fmla="*/ 68961 w 160782"/>
                <a:gd name="connsiteY14" fmla="*/ 31337 h 220218"/>
                <a:gd name="connsiteX15" fmla="*/ 114491 w 160782"/>
                <a:gd name="connsiteY15" fmla="*/ 65341 h 220218"/>
                <a:gd name="connsiteX16" fmla="*/ 68961 w 160782"/>
                <a:gd name="connsiteY16" fmla="*/ 103061 h 220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60782" h="220218">
                  <a:moveTo>
                    <a:pt x="152210" y="65341"/>
                  </a:moveTo>
                  <a:cubicBezTo>
                    <a:pt x="152210" y="16193"/>
                    <a:pt x="117920" y="0"/>
                    <a:pt x="72962" y="0"/>
                  </a:cubicBezTo>
                  <a:lnTo>
                    <a:pt x="0" y="0"/>
                  </a:lnTo>
                  <a:lnTo>
                    <a:pt x="0" y="220218"/>
                  </a:lnTo>
                  <a:lnTo>
                    <a:pt x="38291" y="220218"/>
                  </a:lnTo>
                  <a:lnTo>
                    <a:pt x="38291" y="134017"/>
                  </a:lnTo>
                  <a:lnTo>
                    <a:pt x="71342" y="134017"/>
                  </a:lnTo>
                  <a:lnTo>
                    <a:pt x="117920" y="220218"/>
                  </a:lnTo>
                  <a:lnTo>
                    <a:pt x="160782" y="220218"/>
                  </a:lnTo>
                  <a:lnTo>
                    <a:pt x="109252" y="128302"/>
                  </a:lnTo>
                  <a:cubicBezTo>
                    <a:pt x="134969" y="119253"/>
                    <a:pt x="152210" y="99060"/>
                    <a:pt x="152210" y="65341"/>
                  </a:cubicBezTo>
                  <a:close/>
                  <a:moveTo>
                    <a:pt x="68961" y="103061"/>
                  </a:moveTo>
                  <a:lnTo>
                    <a:pt x="38291" y="103061"/>
                  </a:lnTo>
                  <a:lnTo>
                    <a:pt x="38291" y="31337"/>
                  </a:lnTo>
                  <a:lnTo>
                    <a:pt x="68961" y="31337"/>
                  </a:lnTo>
                  <a:cubicBezTo>
                    <a:pt x="98298" y="31337"/>
                    <a:pt x="114491" y="40100"/>
                    <a:pt x="114491" y="65341"/>
                  </a:cubicBezTo>
                  <a:cubicBezTo>
                    <a:pt x="114586" y="90297"/>
                    <a:pt x="98393" y="103061"/>
                    <a:pt x="68961" y="1030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Vrije vorm: vorm 29">
              <a:extLst>
                <a:ext uri="{FF2B5EF4-FFF2-40B4-BE49-F238E27FC236}">
                  <a16:creationId xmlns:a16="http://schemas.microsoft.com/office/drawing/2014/main" id="{4465F5B0-9708-4629-8959-6F863BD377ED}"/>
                </a:ext>
              </a:extLst>
            </p:cNvPr>
            <p:cNvSpPr/>
            <p:nvPr/>
          </p:nvSpPr>
          <p:spPr>
            <a:xfrm>
              <a:off x="5194553" y="3315938"/>
              <a:ext cx="163068" cy="220313"/>
            </a:xfrm>
            <a:custGeom>
              <a:avLst/>
              <a:gdLst>
                <a:gd name="connsiteX0" fmla="*/ 0 w 163068"/>
                <a:gd name="connsiteY0" fmla="*/ 33052 h 220313"/>
                <a:gd name="connsiteX1" fmla="*/ 62389 w 163068"/>
                <a:gd name="connsiteY1" fmla="*/ 33052 h 220313"/>
                <a:gd name="connsiteX2" fmla="*/ 62389 w 163068"/>
                <a:gd name="connsiteY2" fmla="*/ 220313 h 220313"/>
                <a:gd name="connsiteX3" fmla="*/ 100679 w 163068"/>
                <a:gd name="connsiteY3" fmla="*/ 220313 h 220313"/>
                <a:gd name="connsiteX4" fmla="*/ 100679 w 163068"/>
                <a:gd name="connsiteY4" fmla="*/ 33052 h 220313"/>
                <a:gd name="connsiteX5" fmla="*/ 163068 w 163068"/>
                <a:gd name="connsiteY5" fmla="*/ 33052 h 220313"/>
                <a:gd name="connsiteX6" fmla="*/ 163068 w 163068"/>
                <a:gd name="connsiteY6" fmla="*/ 0 h 220313"/>
                <a:gd name="connsiteX7" fmla="*/ 0 w 163068"/>
                <a:gd name="connsiteY7" fmla="*/ 0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068" h="220313">
                  <a:moveTo>
                    <a:pt x="0" y="33052"/>
                  </a:moveTo>
                  <a:lnTo>
                    <a:pt x="62389" y="33052"/>
                  </a:lnTo>
                  <a:lnTo>
                    <a:pt x="62389" y="220313"/>
                  </a:lnTo>
                  <a:lnTo>
                    <a:pt x="100679" y="220313"/>
                  </a:lnTo>
                  <a:lnTo>
                    <a:pt x="100679" y="33052"/>
                  </a:lnTo>
                  <a:lnTo>
                    <a:pt x="163068" y="33052"/>
                  </a:lnTo>
                  <a:lnTo>
                    <a:pt x="16306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Vrije vorm: vorm 30">
              <a:extLst>
                <a:ext uri="{FF2B5EF4-FFF2-40B4-BE49-F238E27FC236}">
                  <a16:creationId xmlns:a16="http://schemas.microsoft.com/office/drawing/2014/main" id="{F48E79A5-119E-4E04-BD3F-C0DB3D54C57C}"/>
                </a:ext>
              </a:extLst>
            </p:cNvPr>
            <p:cNvSpPr/>
            <p:nvPr/>
          </p:nvSpPr>
          <p:spPr>
            <a:xfrm>
              <a:off x="5396864" y="3315938"/>
              <a:ext cx="164020" cy="220313"/>
            </a:xfrm>
            <a:custGeom>
              <a:avLst/>
              <a:gdLst>
                <a:gd name="connsiteX0" fmla="*/ 125730 w 164020"/>
                <a:gd name="connsiteY0" fmla="*/ 88583 h 220313"/>
                <a:gd name="connsiteX1" fmla="*/ 38291 w 164020"/>
                <a:gd name="connsiteY1" fmla="*/ 88583 h 220313"/>
                <a:gd name="connsiteX2" fmla="*/ 38291 w 164020"/>
                <a:gd name="connsiteY2" fmla="*/ 0 h 220313"/>
                <a:gd name="connsiteX3" fmla="*/ 0 w 164020"/>
                <a:gd name="connsiteY3" fmla="*/ 0 h 220313"/>
                <a:gd name="connsiteX4" fmla="*/ 0 w 164020"/>
                <a:gd name="connsiteY4" fmla="*/ 220313 h 220313"/>
                <a:gd name="connsiteX5" fmla="*/ 38291 w 164020"/>
                <a:gd name="connsiteY5" fmla="*/ 220313 h 220313"/>
                <a:gd name="connsiteX6" fmla="*/ 38291 w 164020"/>
                <a:gd name="connsiteY6" fmla="*/ 122587 h 220313"/>
                <a:gd name="connsiteX7" fmla="*/ 125730 w 164020"/>
                <a:gd name="connsiteY7" fmla="*/ 122587 h 220313"/>
                <a:gd name="connsiteX8" fmla="*/ 125730 w 164020"/>
                <a:gd name="connsiteY8" fmla="*/ 220313 h 220313"/>
                <a:gd name="connsiteX9" fmla="*/ 164021 w 164020"/>
                <a:gd name="connsiteY9" fmla="*/ 220313 h 220313"/>
                <a:gd name="connsiteX10" fmla="*/ 164021 w 164020"/>
                <a:gd name="connsiteY10" fmla="*/ 0 h 220313"/>
                <a:gd name="connsiteX11" fmla="*/ 125730 w 164020"/>
                <a:gd name="connsiteY11" fmla="*/ 0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4020" h="220313">
                  <a:moveTo>
                    <a:pt x="125730" y="88583"/>
                  </a:moveTo>
                  <a:lnTo>
                    <a:pt x="38291" y="88583"/>
                  </a:lnTo>
                  <a:lnTo>
                    <a:pt x="38291" y="0"/>
                  </a:lnTo>
                  <a:lnTo>
                    <a:pt x="0" y="0"/>
                  </a:lnTo>
                  <a:lnTo>
                    <a:pt x="0" y="220313"/>
                  </a:lnTo>
                  <a:lnTo>
                    <a:pt x="38291" y="220313"/>
                  </a:lnTo>
                  <a:lnTo>
                    <a:pt x="38291" y="122587"/>
                  </a:lnTo>
                  <a:lnTo>
                    <a:pt x="125730" y="122587"/>
                  </a:lnTo>
                  <a:lnTo>
                    <a:pt x="125730" y="220313"/>
                  </a:lnTo>
                  <a:lnTo>
                    <a:pt x="164021" y="220313"/>
                  </a:lnTo>
                  <a:lnTo>
                    <a:pt x="164021" y="0"/>
                  </a:lnTo>
                  <a:lnTo>
                    <a:pt x="12573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2" name="Vrije vorm: vorm 31">
              <a:extLst>
                <a:ext uri="{FF2B5EF4-FFF2-40B4-BE49-F238E27FC236}">
                  <a16:creationId xmlns:a16="http://schemas.microsoft.com/office/drawing/2014/main" id="{C4166F02-C92D-4EF0-846F-95287CDE064C}"/>
                </a:ext>
              </a:extLst>
            </p:cNvPr>
            <p:cNvSpPr/>
            <p:nvPr/>
          </p:nvSpPr>
          <p:spPr>
            <a:xfrm>
              <a:off x="5619082" y="3315938"/>
              <a:ext cx="133350" cy="220313"/>
            </a:xfrm>
            <a:custGeom>
              <a:avLst/>
              <a:gdLst>
                <a:gd name="connsiteX0" fmla="*/ 38290 w 133350"/>
                <a:gd name="connsiteY0" fmla="*/ 122301 h 220313"/>
                <a:gd name="connsiteX1" fmla="*/ 115824 w 133350"/>
                <a:gd name="connsiteY1" fmla="*/ 122301 h 220313"/>
                <a:gd name="connsiteX2" fmla="*/ 115824 w 133350"/>
                <a:gd name="connsiteY2" fmla="*/ 89249 h 220313"/>
                <a:gd name="connsiteX3" fmla="*/ 38290 w 133350"/>
                <a:gd name="connsiteY3" fmla="*/ 89249 h 220313"/>
                <a:gd name="connsiteX4" fmla="*/ 38290 w 133350"/>
                <a:gd name="connsiteY4" fmla="*/ 33052 h 220313"/>
                <a:gd name="connsiteX5" fmla="*/ 130016 w 133350"/>
                <a:gd name="connsiteY5" fmla="*/ 33052 h 220313"/>
                <a:gd name="connsiteX6" fmla="*/ 130016 w 133350"/>
                <a:gd name="connsiteY6" fmla="*/ 0 h 220313"/>
                <a:gd name="connsiteX7" fmla="*/ 0 w 133350"/>
                <a:gd name="connsiteY7" fmla="*/ 0 h 220313"/>
                <a:gd name="connsiteX8" fmla="*/ 0 w 133350"/>
                <a:gd name="connsiteY8" fmla="*/ 220313 h 220313"/>
                <a:gd name="connsiteX9" fmla="*/ 133350 w 133350"/>
                <a:gd name="connsiteY9" fmla="*/ 220313 h 220313"/>
                <a:gd name="connsiteX10" fmla="*/ 133350 w 133350"/>
                <a:gd name="connsiteY10" fmla="*/ 187262 h 220313"/>
                <a:gd name="connsiteX11" fmla="*/ 38290 w 133350"/>
                <a:gd name="connsiteY11" fmla="*/ 187262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3350" h="220313">
                  <a:moveTo>
                    <a:pt x="38290" y="122301"/>
                  </a:moveTo>
                  <a:lnTo>
                    <a:pt x="115824" y="122301"/>
                  </a:lnTo>
                  <a:lnTo>
                    <a:pt x="115824" y="89249"/>
                  </a:lnTo>
                  <a:lnTo>
                    <a:pt x="38290" y="89249"/>
                  </a:lnTo>
                  <a:lnTo>
                    <a:pt x="38290" y="33052"/>
                  </a:lnTo>
                  <a:lnTo>
                    <a:pt x="130016" y="33052"/>
                  </a:lnTo>
                  <a:lnTo>
                    <a:pt x="130016" y="0"/>
                  </a:lnTo>
                  <a:lnTo>
                    <a:pt x="0" y="0"/>
                  </a:lnTo>
                  <a:lnTo>
                    <a:pt x="0" y="220313"/>
                  </a:lnTo>
                  <a:lnTo>
                    <a:pt x="133350" y="220313"/>
                  </a:lnTo>
                  <a:lnTo>
                    <a:pt x="133350" y="187262"/>
                  </a:lnTo>
                  <a:lnTo>
                    <a:pt x="38290" y="1872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3" name="Vrije vorm: vorm 32">
              <a:extLst>
                <a:ext uri="{FF2B5EF4-FFF2-40B4-BE49-F238E27FC236}">
                  <a16:creationId xmlns:a16="http://schemas.microsoft.com/office/drawing/2014/main" id="{C2DFCFA6-E10D-4EC9-A126-026EF702FBD9}"/>
                </a:ext>
              </a:extLst>
            </p:cNvPr>
            <p:cNvSpPr/>
            <p:nvPr/>
          </p:nvSpPr>
          <p:spPr>
            <a:xfrm>
              <a:off x="5799581" y="3315938"/>
              <a:ext cx="160781" cy="220218"/>
            </a:xfrm>
            <a:custGeom>
              <a:avLst/>
              <a:gdLst>
                <a:gd name="connsiteX0" fmla="*/ 152209 w 160781"/>
                <a:gd name="connsiteY0" fmla="*/ 65341 h 220218"/>
                <a:gd name="connsiteX1" fmla="*/ 72961 w 160781"/>
                <a:gd name="connsiteY1" fmla="*/ 0 h 220218"/>
                <a:gd name="connsiteX2" fmla="*/ 0 w 160781"/>
                <a:gd name="connsiteY2" fmla="*/ 0 h 220218"/>
                <a:gd name="connsiteX3" fmla="*/ 0 w 160781"/>
                <a:gd name="connsiteY3" fmla="*/ 220218 h 220218"/>
                <a:gd name="connsiteX4" fmla="*/ 38290 w 160781"/>
                <a:gd name="connsiteY4" fmla="*/ 220218 h 220218"/>
                <a:gd name="connsiteX5" fmla="*/ 38290 w 160781"/>
                <a:gd name="connsiteY5" fmla="*/ 134017 h 220218"/>
                <a:gd name="connsiteX6" fmla="*/ 71342 w 160781"/>
                <a:gd name="connsiteY6" fmla="*/ 134017 h 220218"/>
                <a:gd name="connsiteX7" fmla="*/ 117919 w 160781"/>
                <a:gd name="connsiteY7" fmla="*/ 220218 h 220218"/>
                <a:gd name="connsiteX8" fmla="*/ 160782 w 160781"/>
                <a:gd name="connsiteY8" fmla="*/ 220218 h 220218"/>
                <a:gd name="connsiteX9" fmla="*/ 109252 w 160781"/>
                <a:gd name="connsiteY9" fmla="*/ 128302 h 220218"/>
                <a:gd name="connsiteX10" fmla="*/ 152209 w 160781"/>
                <a:gd name="connsiteY10" fmla="*/ 65341 h 220218"/>
                <a:gd name="connsiteX11" fmla="*/ 69056 w 160781"/>
                <a:gd name="connsiteY11" fmla="*/ 103061 h 220218"/>
                <a:gd name="connsiteX12" fmla="*/ 38386 w 160781"/>
                <a:gd name="connsiteY12" fmla="*/ 103061 h 220218"/>
                <a:gd name="connsiteX13" fmla="*/ 38386 w 160781"/>
                <a:gd name="connsiteY13" fmla="*/ 31337 h 220218"/>
                <a:gd name="connsiteX14" fmla="*/ 69056 w 160781"/>
                <a:gd name="connsiteY14" fmla="*/ 31337 h 220218"/>
                <a:gd name="connsiteX15" fmla="*/ 114586 w 160781"/>
                <a:gd name="connsiteY15" fmla="*/ 65341 h 220218"/>
                <a:gd name="connsiteX16" fmla="*/ 69056 w 160781"/>
                <a:gd name="connsiteY16" fmla="*/ 103061 h 220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60781" h="220218">
                  <a:moveTo>
                    <a:pt x="152209" y="65341"/>
                  </a:moveTo>
                  <a:cubicBezTo>
                    <a:pt x="152209" y="16193"/>
                    <a:pt x="117919" y="0"/>
                    <a:pt x="72961" y="0"/>
                  </a:cubicBezTo>
                  <a:lnTo>
                    <a:pt x="0" y="0"/>
                  </a:lnTo>
                  <a:lnTo>
                    <a:pt x="0" y="220218"/>
                  </a:lnTo>
                  <a:lnTo>
                    <a:pt x="38290" y="220218"/>
                  </a:lnTo>
                  <a:lnTo>
                    <a:pt x="38290" y="134017"/>
                  </a:lnTo>
                  <a:lnTo>
                    <a:pt x="71342" y="134017"/>
                  </a:lnTo>
                  <a:lnTo>
                    <a:pt x="117919" y="220218"/>
                  </a:lnTo>
                  <a:lnTo>
                    <a:pt x="160782" y="220218"/>
                  </a:lnTo>
                  <a:lnTo>
                    <a:pt x="109252" y="128302"/>
                  </a:lnTo>
                  <a:cubicBezTo>
                    <a:pt x="135064" y="119253"/>
                    <a:pt x="152209" y="99060"/>
                    <a:pt x="152209" y="65341"/>
                  </a:cubicBezTo>
                  <a:close/>
                  <a:moveTo>
                    <a:pt x="69056" y="103061"/>
                  </a:moveTo>
                  <a:lnTo>
                    <a:pt x="38386" y="103061"/>
                  </a:lnTo>
                  <a:lnTo>
                    <a:pt x="38386" y="31337"/>
                  </a:lnTo>
                  <a:lnTo>
                    <a:pt x="69056" y="31337"/>
                  </a:lnTo>
                  <a:cubicBezTo>
                    <a:pt x="98393" y="31337"/>
                    <a:pt x="114586" y="40100"/>
                    <a:pt x="114586" y="65341"/>
                  </a:cubicBezTo>
                  <a:cubicBezTo>
                    <a:pt x="114586" y="90297"/>
                    <a:pt x="98393" y="103061"/>
                    <a:pt x="69056" y="1030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4" name="Vrije vorm: vorm 33">
              <a:extLst>
                <a:ext uri="{FF2B5EF4-FFF2-40B4-BE49-F238E27FC236}">
                  <a16:creationId xmlns:a16="http://schemas.microsoft.com/office/drawing/2014/main" id="{D69D3ED8-B2C7-441A-834B-E38BE6FCCEBB}"/>
                </a:ext>
              </a:extLst>
            </p:cNvPr>
            <p:cNvSpPr/>
            <p:nvPr/>
          </p:nvSpPr>
          <p:spPr>
            <a:xfrm>
              <a:off x="5998273" y="3315938"/>
              <a:ext cx="191166" cy="220313"/>
            </a:xfrm>
            <a:custGeom>
              <a:avLst/>
              <a:gdLst>
                <a:gd name="connsiteX0" fmla="*/ 110300 w 191166"/>
                <a:gd name="connsiteY0" fmla="*/ 107823 h 220313"/>
                <a:gd name="connsiteX1" fmla="*/ 96774 w 191166"/>
                <a:gd name="connsiteY1" fmla="*/ 150971 h 220313"/>
                <a:gd name="connsiteX2" fmla="*/ 95440 w 191166"/>
                <a:gd name="connsiteY2" fmla="*/ 150971 h 220313"/>
                <a:gd name="connsiteX3" fmla="*/ 81534 w 191166"/>
                <a:gd name="connsiteY3" fmla="*/ 107823 h 220313"/>
                <a:gd name="connsiteX4" fmla="*/ 43243 w 191166"/>
                <a:gd name="connsiteY4" fmla="*/ 95 h 220313"/>
                <a:gd name="connsiteX5" fmla="*/ 0 w 191166"/>
                <a:gd name="connsiteY5" fmla="*/ 95 h 220313"/>
                <a:gd name="connsiteX6" fmla="*/ 0 w 191166"/>
                <a:gd name="connsiteY6" fmla="*/ 220313 h 220313"/>
                <a:gd name="connsiteX7" fmla="*/ 34671 w 191166"/>
                <a:gd name="connsiteY7" fmla="*/ 220313 h 220313"/>
                <a:gd name="connsiteX8" fmla="*/ 34671 w 191166"/>
                <a:gd name="connsiteY8" fmla="*/ 119634 h 220313"/>
                <a:gd name="connsiteX9" fmla="*/ 29718 w 191166"/>
                <a:gd name="connsiteY9" fmla="*/ 49625 h 220313"/>
                <a:gd name="connsiteX10" fmla="*/ 31051 w 191166"/>
                <a:gd name="connsiteY10" fmla="*/ 49625 h 220313"/>
                <a:gd name="connsiteX11" fmla="*/ 48196 w 191166"/>
                <a:gd name="connsiteY11" fmla="*/ 100775 h 220313"/>
                <a:gd name="connsiteX12" fmla="*/ 83820 w 191166"/>
                <a:gd name="connsiteY12" fmla="*/ 199739 h 220313"/>
                <a:gd name="connsiteX13" fmla="*/ 106585 w 191166"/>
                <a:gd name="connsiteY13" fmla="*/ 199739 h 220313"/>
                <a:gd name="connsiteX14" fmla="*/ 141922 w 191166"/>
                <a:gd name="connsiteY14" fmla="*/ 100775 h 220313"/>
                <a:gd name="connsiteX15" fmla="*/ 159448 w 191166"/>
                <a:gd name="connsiteY15" fmla="*/ 49625 h 220313"/>
                <a:gd name="connsiteX16" fmla="*/ 160782 w 191166"/>
                <a:gd name="connsiteY16" fmla="*/ 49625 h 220313"/>
                <a:gd name="connsiteX17" fmla="*/ 155829 w 191166"/>
                <a:gd name="connsiteY17" fmla="*/ 119634 h 220313"/>
                <a:gd name="connsiteX18" fmla="*/ 155829 w 191166"/>
                <a:gd name="connsiteY18" fmla="*/ 220313 h 220313"/>
                <a:gd name="connsiteX19" fmla="*/ 191167 w 191166"/>
                <a:gd name="connsiteY19" fmla="*/ 220313 h 220313"/>
                <a:gd name="connsiteX20" fmla="*/ 191167 w 191166"/>
                <a:gd name="connsiteY20" fmla="*/ 0 h 220313"/>
                <a:gd name="connsiteX21" fmla="*/ 147638 w 191166"/>
                <a:gd name="connsiteY21" fmla="*/ 0 h 220313"/>
                <a:gd name="connsiteX22" fmla="*/ 110300 w 191166"/>
                <a:gd name="connsiteY22" fmla="*/ 107823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1166" h="220313">
                  <a:moveTo>
                    <a:pt x="110300" y="107823"/>
                  </a:moveTo>
                  <a:cubicBezTo>
                    <a:pt x="105632" y="121634"/>
                    <a:pt x="101346" y="136493"/>
                    <a:pt x="96774" y="150971"/>
                  </a:cubicBezTo>
                  <a:lnTo>
                    <a:pt x="95440" y="150971"/>
                  </a:lnTo>
                  <a:cubicBezTo>
                    <a:pt x="90868" y="136493"/>
                    <a:pt x="86201" y="121634"/>
                    <a:pt x="81534" y="107823"/>
                  </a:cubicBezTo>
                  <a:lnTo>
                    <a:pt x="43243" y="95"/>
                  </a:lnTo>
                  <a:lnTo>
                    <a:pt x="0" y="95"/>
                  </a:lnTo>
                  <a:lnTo>
                    <a:pt x="0" y="220313"/>
                  </a:lnTo>
                  <a:lnTo>
                    <a:pt x="34671" y="220313"/>
                  </a:lnTo>
                  <a:lnTo>
                    <a:pt x="34671" y="119634"/>
                  </a:lnTo>
                  <a:cubicBezTo>
                    <a:pt x="34671" y="99060"/>
                    <a:pt x="31337" y="69818"/>
                    <a:pt x="29718" y="49625"/>
                  </a:cubicBezTo>
                  <a:lnTo>
                    <a:pt x="31051" y="49625"/>
                  </a:lnTo>
                  <a:lnTo>
                    <a:pt x="48196" y="100775"/>
                  </a:lnTo>
                  <a:lnTo>
                    <a:pt x="83820" y="199739"/>
                  </a:lnTo>
                  <a:lnTo>
                    <a:pt x="106585" y="199739"/>
                  </a:lnTo>
                  <a:lnTo>
                    <a:pt x="141922" y="100775"/>
                  </a:lnTo>
                  <a:lnTo>
                    <a:pt x="159448" y="49625"/>
                  </a:lnTo>
                  <a:lnTo>
                    <a:pt x="160782" y="49625"/>
                  </a:lnTo>
                  <a:cubicBezTo>
                    <a:pt x="158782" y="69818"/>
                    <a:pt x="155829" y="99155"/>
                    <a:pt x="155829" y="119634"/>
                  </a:cubicBezTo>
                  <a:lnTo>
                    <a:pt x="155829" y="220313"/>
                  </a:lnTo>
                  <a:lnTo>
                    <a:pt x="191167" y="220313"/>
                  </a:lnTo>
                  <a:lnTo>
                    <a:pt x="191167" y="0"/>
                  </a:lnTo>
                  <a:lnTo>
                    <a:pt x="147638" y="0"/>
                  </a:lnTo>
                  <a:lnTo>
                    <a:pt x="110300" y="1078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5" name="Vrije vorm: vorm 34">
              <a:extLst>
                <a:ext uri="{FF2B5EF4-FFF2-40B4-BE49-F238E27FC236}">
                  <a16:creationId xmlns:a16="http://schemas.microsoft.com/office/drawing/2014/main" id="{5BA30A9A-F9BD-474A-AFD3-EA49FD67CC18}"/>
                </a:ext>
              </a:extLst>
            </p:cNvPr>
            <p:cNvSpPr/>
            <p:nvPr/>
          </p:nvSpPr>
          <p:spPr>
            <a:xfrm>
              <a:off x="6247256" y="3315938"/>
              <a:ext cx="133350" cy="220313"/>
            </a:xfrm>
            <a:custGeom>
              <a:avLst/>
              <a:gdLst>
                <a:gd name="connsiteX0" fmla="*/ 38290 w 133350"/>
                <a:gd name="connsiteY0" fmla="*/ 122301 h 220313"/>
                <a:gd name="connsiteX1" fmla="*/ 115824 w 133350"/>
                <a:gd name="connsiteY1" fmla="*/ 122301 h 220313"/>
                <a:gd name="connsiteX2" fmla="*/ 115824 w 133350"/>
                <a:gd name="connsiteY2" fmla="*/ 89249 h 220313"/>
                <a:gd name="connsiteX3" fmla="*/ 38290 w 133350"/>
                <a:gd name="connsiteY3" fmla="*/ 89249 h 220313"/>
                <a:gd name="connsiteX4" fmla="*/ 38290 w 133350"/>
                <a:gd name="connsiteY4" fmla="*/ 33052 h 220313"/>
                <a:gd name="connsiteX5" fmla="*/ 130111 w 133350"/>
                <a:gd name="connsiteY5" fmla="*/ 33052 h 220313"/>
                <a:gd name="connsiteX6" fmla="*/ 130111 w 133350"/>
                <a:gd name="connsiteY6" fmla="*/ 0 h 220313"/>
                <a:gd name="connsiteX7" fmla="*/ 0 w 133350"/>
                <a:gd name="connsiteY7" fmla="*/ 0 h 220313"/>
                <a:gd name="connsiteX8" fmla="*/ 0 w 133350"/>
                <a:gd name="connsiteY8" fmla="*/ 220313 h 220313"/>
                <a:gd name="connsiteX9" fmla="*/ 133350 w 133350"/>
                <a:gd name="connsiteY9" fmla="*/ 220313 h 220313"/>
                <a:gd name="connsiteX10" fmla="*/ 133350 w 133350"/>
                <a:gd name="connsiteY10" fmla="*/ 187262 h 220313"/>
                <a:gd name="connsiteX11" fmla="*/ 38290 w 133350"/>
                <a:gd name="connsiteY11" fmla="*/ 187262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3350" h="220313">
                  <a:moveTo>
                    <a:pt x="38290" y="122301"/>
                  </a:moveTo>
                  <a:lnTo>
                    <a:pt x="115824" y="122301"/>
                  </a:lnTo>
                  <a:lnTo>
                    <a:pt x="115824" y="89249"/>
                  </a:lnTo>
                  <a:lnTo>
                    <a:pt x="38290" y="89249"/>
                  </a:lnTo>
                  <a:lnTo>
                    <a:pt x="38290" y="33052"/>
                  </a:lnTo>
                  <a:lnTo>
                    <a:pt x="130111" y="33052"/>
                  </a:lnTo>
                  <a:lnTo>
                    <a:pt x="130111" y="0"/>
                  </a:lnTo>
                  <a:lnTo>
                    <a:pt x="0" y="0"/>
                  </a:lnTo>
                  <a:lnTo>
                    <a:pt x="0" y="220313"/>
                  </a:lnTo>
                  <a:lnTo>
                    <a:pt x="133350" y="220313"/>
                  </a:lnTo>
                  <a:lnTo>
                    <a:pt x="133350" y="187262"/>
                  </a:lnTo>
                  <a:lnTo>
                    <a:pt x="38290" y="1872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6" name="Vrije vorm: vorm 35">
              <a:extLst>
                <a:ext uri="{FF2B5EF4-FFF2-40B4-BE49-F238E27FC236}">
                  <a16:creationId xmlns:a16="http://schemas.microsoft.com/office/drawing/2014/main" id="{2905C2FD-37D3-4AE6-9F48-A74FAA58D83E}"/>
                </a:ext>
              </a:extLst>
            </p:cNvPr>
            <p:cNvSpPr/>
            <p:nvPr/>
          </p:nvSpPr>
          <p:spPr>
            <a:xfrm>
              <a:off x="6403085" y="3315938"/>
              <a:ext cx="185546" cy="220313"/>
            </a:xfrm>
            <a:custGeom>
              <a:avLst/>
              <a:gdLst>
                <a:gd name="connsiteX0" fmla="*/ 70294 w 185546"/>
                <a:gd name="connsiteY0" fmla="*/ 0 h 220313"/>
                <a:gd name="connsiteX1" fmla="*/ 0 w 185546"/>
                <a:gd name="connsiteY1" fmla="*/ 220218 h 220313"/>
                <a:gd name="connsiteX2" fmla="*/ 38957 w 185546"/>
                <a:gd name="connsiteY2" fmla="*/ 220218 h 220313"/>
                <a:gd name="connsiteX3" fmla="*/ 55817 w 185546"/>
                <a:gd name="connsiteY3" fmla="*/ 160687 h 220313"/>
                <a:gd name="connsiteX4" fmla="*/ 128397 w 185546"/>
                <a:gd name="connsiteY4" fmla="*/ 160687 h 220313"/>
                <a:gd name="connsiteX5" fmla="*/ 145256 w 185546"/>
                <a:gd name="connsiteY5" fmla="*/ 220313 h 220313"/>
                <a:gd name="connsiteX6" fmla="*/ 185547 w 185546"/>
                <a:gd name="connsiteY6" fmla="*/ 220313 h 220313"/>
                <a:gd name="connsiteX7" fmla="*/ 115252 w 185546"/>
                <a:gd name="connsiteY7" fmla="*/ 95 h 220313"/>
                <a:gd name="connsiteX8" fmla="*/ 70294 w 185546"/>
                <a:gd name="connsiteY8" fmla="*/ 95 h 220313"/>
                <a:gd name="connsiteX9" fmla="*/ 64675 w 185546"/>
                <a:gd name="connsiteY9" fmla="*/ 130016 h 220313"/>
                <a:gd name="connsiteX10" fmla="*/ 72295 w 185546"/>
                <a:gd name="connsiteY10" fmla="*/ 103061 h 220313"/>
                <a:gd name="connsiteX11" fmla="*/ 91440 w 185546"/>
                <a:gd name="connsiteY11" fmla="*/ 30290 h 220313"/>
                <a:gd name="connsiteX12" fmla="*/ 92773 w 185546"/>
                <a:gd name="connsiteY12" fmla="*/ 30290 h 220313"/>
                <a:gd name="connsiteX13" fmla="*/ 112204 w 185546"/>
                <a:gd name="connsiteY13" fmla="*/ 103061 h 220313"/>
                <a:gd name="connsiteX14" fmla="*/ 119825 w 185546"/>
                <a:gd name="connsiteY14" fmla="*/ 130016 h 220313"/>
                <a:gd name="connsiteX15" fmla="*/ 64675 w 185546"/>
                <a:gd name="connsiteY15" fmla="*/ 130016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5546" h="220313">
                  <a:moveTo>
                    <a:pt x="70294" y="0"/>
                  </a:moveTo>
                  <a:lnTo>
                    <a:pt x="0" y="220218"/>
                  </a:lnTo>
                  <a:lnTo>
                    <a:pt x="38957" y="220218"/>
                  </a:lnTo>
                  <a:lnTo>
                    <a:pt x="55817" y="160687"/>
                  </a:lnTo>
                  <a:lnTo>
                    <a:pt x="128397" y="160687"/>
                  </a:lnTo>
                  <a:lnTo>
                    <a:pt x="145256" y="220313"/>
                  </a:lnTo>
                  <a:lnTo>
                    <a:pt x="185547" y="220313"/>
                  </a:lnTo>
                  <a:lnTo>
                    <a:pt x="115252" y="95"/>
                  </a:lnTo>
                  <a:lnTo>
                    <a:pt x="70294" y="95"/>
                  </a:lnTo>
                  <a:close/>
                  <a:moveTo>
                    <a:pt x="64675" y="130016"/>
                  </a:moveTo>
                  <a:lnTo>
                    <a:pt x="72295" y="103061"/>
                  </a:lnTo>
                  <a:cubicBezTo>
                    <a:pt x="79248" y="79820"/>
                    <a:pt x="85534" y="54864"/>
                    <a:pt x="91440" y="30290"/>
                  </a:cubicBezTo>
                  <a:lnTo>
                    <a:pt x="92773" y="30290"/>
                  </a:lnTo>
                  <a:cubicBezTo>
                    <a:pt x="99060" y="54578"/>
                    <a:pt x="105346" y="79820"/>
                    <a:pt x="112204" y="103061"/>
                  </a:cubicBezTo>
                  <a:lnTo>
                    <a:pt x="119825" y="130016"/>
                  </a:lnTo>
                  <a:lnTo>
                    <a:pt x="64675" y="1300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7" name="Vrije vorm: vorm 36">
              <a:extLst>
                <a:ext uri="{FF2B5EF4-FFF2-40B4-BE49-F238E27FC236}">
                  <a16:creationId xmlns:a16="http://schemas.microsoft.com/office/drawing/2014/main" id="{B397BC4A-0441-463B-A4DF-35334DD14B9E}"/>
                </a:ext>
              </a:extLst>
            </p:cNvPr>
            <p:cNvSpPr/>
            <p:nvPr/>
          </p:nvSpPr>
          <p:spPr>
            <a:xfrm>
              <a:off x="6668261" y="3314700"/>
              <a:ext cx="157733" cy="225456"/>
            </a:xfrm>
            <a:custGeom>
              <a:avLst/>
              <a:gdLst>
                <a:gd name="connsiteX0" fmla="*/ 91059 w 157733"/>
                <a:gd name="connsiteY0" fmla="*/ 127445 h 225456"/>
                <a:gd name="connsiteX1" fmla="*/ 143256 w 157733"/>
                <a:gd name="connsiteY1" fmla="*/ 127445 h 225456"/>
                <a:gd name="connsiteX2" fmla="*/ 143256 w 157733"/>
                <a:gd name="connsiteY2" fmla="*/ 195167 h 225456"/>
                <a:gd name="connsiteX3" fmla="*/ 122301 w 157733"/>
                <a:gd name="connsiteY3" fmla="*/ 207359 h 225456"/>
                <a:gd name="connsiteX4" fmla="*/ 94393 w 157733"/>
                <a:gd name="connsiteY4" fmla="*/ 211646 h 225456"/>
                <a:gd name="connsiteX5" fmla="*/ 61246 w 157733"/>
                <a:gd name="connsiteY5" fmla="*/ 204502 h 225456"/>
                <a:gd name="connsiteX6" fmla="*/ 36481 w 157733"/>
                <a:gd name="connsiteY6" fmla="*/ 184499 h 225456"/>
                <a:gd name="connsiteX7" fmla="*/ 21146 w 157733"/>
                <a:gd name="connsiteY7" fmla="*/ 153257 h 225456"/>
                <a:gd name="connsiteX8" fmla="*/ 15907 w 157733"/>
                <a:gd name="connsiteY8" fmla="*/ 112205 h 225456"/>
                <a:gd name="connsiteX9" fmla="*/ 21526 w 157733"/>
                <a:gd name="connsiteY9" fmla="*/ 71247 h 225456"/>
                <a:gd name="connsiteX10" fmla="*/ 37529 w 157733"/>
                <a:gd name="connsiteY10" fmla="*/ 40386 h 225456"/>
                <a:gd name="connsiteX11" fmla="*/ 62770 w 157733"/>
                <a:gd name="connsiteY11" fmla="*/ 20765 h 225456"/>
                <a:gd name="connsiteX12" fmla="*/ 96488 w 157733"/>
                <a:gd name="connsiteY12" fmla="*/ 13811 h 225456"/>
                <a:gd name="connsiteX13" fmla="*/ 126206 w 157733"/>
                <a:gd name="connsiteY13" fmla="*/ 20384 h 225456"/>
                <a:gd name="connsiteX14" fmla="*/ 146685 w 157733"/>
                <a:gd name="connsiteY14" fmla="*/ 36195 h 225456"/>
                <a:gd name="connsiteX15" fmla="*/ 155638 w 157733"/>
                <a:gd name="connsiteY15" fmla="*/ 26003 h 225456"/>
                <a:gd name="connsiteX16" fmla="*/ 145542 w 157733"/>
                <a:gd name="connsiteY16" fmla="*/ 16764 h 225456"/>
                <a:gd name="connsiteX17" fmla="*/ 132493 w 157733"/>
                <a:gd name="connsiteY17" fmla="*/ 8382 h 225456"/>
                <a:gd name="connsiteX18" fmla="*/ 116110 w 157733"/>
                <a:gd name="connsiteY18" fmla="*/ 2286 h 225456"/>
                <a:gd name="connsiteX19" fmla="*/ 96107 w 157733"/>
                <a:gd name="connsiteY19" fmla="*/ 0 h 225456"/>
                <a:gd name="connsiteX20" fmla="*/ 56769 w 157733"/>
                <a:gd name="connsiteY20" fmla="*/ 7715 h 225456"/>
                <a:gd name="connsiteX21" fmla="*/ 26384 w 157733"/>
                <a:gd name="connsiteY21" fmla="*/ 30194 h 225456"/>
                <a:gd name="connsiteX22" fmla="*/ 6953 w 157733"/>
                <a:gd name="connsiteY22" fmla="*/ 65723 h 225456"/>
                <a:gd name="connsiteX23" fmla="*/ 0 w 157733"/>
                <a:gd name="connsiteY23" fmla="*/ 112300 h 225456"/>
                <a:gd name="connsiteX24" fmla="*/ 6763 w 157733"/>
                <a:gd name="connsiteY24" fmla="*/ 159353 h 225456"/>
                <a:gd name="connsiteX25" fmla="*/ 25717 w 157733"/>
                <a:gd name="connsiteY25" fmla="*/ 194977 h 225456"/>
                <a:gd name="connsiteX26" fmla="*/ 55054 w 157733"/>
                <a:gd name="connsiteY26" fmla="*/ 217551 h 225456"/>
                <a:gd name="connsiteX27" fmla="*/ 93345 w 157733"/>
                <a:gd name="connsiteY27" fmla="*/ 225457 h 225456"/>
                <a:gd name="connsiteX28" fmla="*/ 131159 w 157733"/>
                <a:gd name="connsiteY28" fmla="*/ 218504 h 225456"/>
                <a:gd name="connsiteX29" fmla="*/ 157734 w 157733"/>
                <a:gd name="connsiteY29" fmla="*/ 200692 h 225456"/>
                <a:gd name="connsiteX30" fmla="*/ 157734 w 157733"/>
                <a:gd name="connsiteY30" fmla="*/ 114491 h 225456"/>
                <a:gd name="connsiteX31" fmla="*/ 91059 w 157733"/>
                <a:gd name="connsiteY31" fmla="*/ 114491 h 225456"/>
                <a:gd name="connsiteX32" fmla="*/ 91059 w 157733"/>
                <a:gd name="connsiteY32" fmla="*/ 127445 h 225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57733" h="225456">
                  <a:moveTo>
                    <a:pt x="91059" y="127445"/>
                  </a:moveTo>
                  <a:lnTo>
                    <a:pt x="143256" y="127445"/>
                  </a:lnTo>
                  <a:lnTo>
                    <a:pt x="143256" y="195167"/>
                  </a:lnTo>
                  <a:cubicBezTo>
                    <a:pt x="138017" y="200406"/>
                    <a:pt x="130969" y="204502"/>
                    <a:pt x="122301" y="207359"/>
                  </a:cubicBezTo>
                  <a:cubicBezTo>
                    <a:pt x="113633" y="210217"/>
                    <a:pt x="104299" y="211646"/>
                    <a:pt x="94393" y="211646"/>
                  </a:cubicBezTo>
                  <a:cubicBezTo>
                    <a:pt x="82105" y="211646"/>
                    <a:pt x="70961" y="209264"/>
                    <a:pt x="61246" y="204502"/>
                  </a:cubicBezTo>
                  <a:cubicBezTo>
                    <a:pt x="51435" y="199739"/>
                    <a:pt x="43243" y="193072"/>
                    <a:pt x="36481" y="184499"/>
                  </a:cubicBezTo>
                  <a:cubicBezTo>
                    <a:pt x="29718" y="175927"/>
                    <a:pt x="24670" y="165544"/>
                    <a:pt x="21146" y="153257"/>
                  </a:cubicBezTo>
                  <a:cubicBezTo>
                    <a:pt x="17621" y="141065"/>
                    <a:pt x="15907" y="127349"/>
                    <a:pt x="15907" y="112205"/>
                  </a:cubicBezTo>
                  <a:cubicBezTo>
                    <a:pt x="15907" y="97060"/>
                    <a:pt x="17812" y="83344"/>
                    <a:pt x="21526" y="71247"/>
                  </a:cubicBezTo>
                  <a:cubicBezTo>
                    <a:pt x="25241" y="59150"/>
                    <a:pt x="30575" y="48863"/>
                    <a:pt x="37529" y="40386"/>
                  </a:cubicBezTo>
                  <a:cubicBezTo>
                    <a:pt x="44482" y="31909"/>
                    <a:pt x="52864" y="25337"/>
                    <a:pt x="62770" y="20765"/>
                  </a:cubicBezTo>
                  <a:cubicBezTo>
                    <a:pt x="72676" y="16097"/>
                    <a:pt x="83915" y="13811"/>
                    <a:pt x="96488" y="13811"/>
                  </a:cubicBezTo>
                  <a:cubicBezTo>
                    <a:pt x="108395" y="13811"/>
                    <a:pt x="118300" y="16002"/>
                    <a:pt x="126206" y="20384"/>
                  </a:cubicBezTo>
                  <a:cubicBezTo>
                    <a:pt x="134112" y="24765"/>
                    <a:pt x="140970" y="30099"/>
                    <a:pt x="146685" y="36195"/>
                  </a:cubicBezTo>
                  <a:lnTo>
                    <a:pt x="155638" y="26003"/>
                  </a:lnTo>
                  <a:cubicBezTo>
                    <a:pt x="152781" y="22955"/>
                    <a:pt x="149447" y="19812"/>
                    <a:pt x="145542" y="16764"/>
                  </a:cubicBezTo>
                  <a:cubicBezTo>
                    <a:pt x="141637" y="13716"/>
                    <a:pt x="137350" y="10859"/>
                    <a:pt x="132493" y="8382"/>
                  </a:cubicBezTo>
                  <a:cubicBezTo>
                    <a:pt x="127635" y="5810"/>
                    <a:pt x="122206" y="3810"/>
                    <a:pt x="116110" y="2286"/>
                  </a:cubicBezTo>
                  <a:cubicBezTo>
                    <a:pt x="110014" y="762"/>
                    <a:pt x="103442" y="0"/>
                    <a:pt x="96107" y="0"/>
                  </a:cubicBezTo>
                  <a:cubicBezTo>
                    <a:pt x="81820" y="0"/>
                    <a:pt x="68675" y="2572"/>
                    <a:pt x="56769" y="7715"/>
                  </a:cubicBezTo>
                  <a:cubicBezTo>
                    <a:pt x="44863" y="12859"/>
                    <a:pt x="34766" y="20384"/>
                    <a:pt x="26384" y="30194"/>
                  </a:cubicBezTo>
                  <a:cubicBezTo>
                    <a:pt x="18002" y="40005"/>
                    <a:pt x="11525" y="51816"/>
                    <a:pt x="6953" y="65723"/>
                  </a:cubicBezTo>
                  <a:cubicBezTo>
                    <a:pt x="2381" y="79629"/>
                    <a:pt x="0" y="95059"/>
                    <a:pt x="0" y="112300"/>
                  </a:cubicBezTo>
                  <a:cubicBezTo>
                    <a:pt x="0" y="129731"/>
                    <a:pt x="2286" y="145352"/>
                    <a:pt x="6763" y="159353"/>
                  </a:cubicBezTo>
                  <a:cubicBezTo>
                    <a:pt x="11239" y="173355"/>
                    <a:pt x="17621" y="185261"/>
                    <a:pt x="25717" y="194977"/>
                  </a:cubicBezTo>
                  <a:cubicBezTo>
                    <a:pt x="33814" y="204788"/>
                    <a:pt x="43625" y="212312"/>
                    <a:pt x="55054" y="217551"/>
                  </a:cubicBezTo>
                  <a:cubicBezTo>
                    <a:pt x="66484" y="222790"/>
                    <a:pt x="79248" y="225457"/>
                    <a:pt x="93345" y="225457"/>
                  </a:cubicBezTo>
                  <a:cubicBezTo>
                    <a:pt x="107633" y="225457"/>
                    <a:pt x="120205" y="223171"/>
                    <a:pt x="131159" y="218504"/>
                  </a:cubicBezTo>
                  <a:cubicBezTo>
                    <a:pt x="142018" y="213836"/>
                    <a:pt x="150876" y="207931"/>
                    <a:pt x="157734" y="200692"/>
                  </a:cubicBezTo>
                  <a:lnTo>
                    <a:pt x="157734" y="114491"/>
                  </a:lnTo>
                  <a:lnTo>
                    <a:pt x="91059" y="114491"/>
                  </a:lnTo>
                  <a:lnTo>
                    <a:pt x="91059" y="1274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8" name="Vrije vorm: vorm 37">
              <a:extLst>
                <a:ext uri="{FF2B5EF4-FFF2-40B4-BE49-F238E27FC236}">
                  <a16:creationId xmlns:a16="http://schemas.microsoft.com/office/drawing/2014/main" id="{BE0FB77D-E085-477B-AF19-A3E0D2062A5C}"/>
                </a:ext>
              </a:extLst>
            </p:cNvPr>
            <p:cNvSpPr/>
            <p:nvPr/>
          </p:nvSpPr>
          <p:spPr>
            <a:xfrm>
              <a:off x="6884764" y="3318605"/>
              <a:ext cx="137922" cy="217551"/>
            </a:xfrm>
            <a:custGeom>
              <a:avLst/>
              <a:gdLst>
                <a:gd name="connsiteX0" fmla="*/ 118681 w 137922"/>
                <a:gd name="connsiteY0" fmla="*/ 98393 h 217551"/>
                <a:gd name="connsiteX1" fmla="*/ 133731 w 137922"/>
                <a:gd name="connsiteY1" fmla="*/ 57436 h 217551"/>
                <a:gd name="connsiteX2" fmla="*/ 128588 w 137922"/>
                <a:gd name="connsiteY2" fmla="*/ 31052 h 217551"/>
                <a:gd name="connsiteX3" fmla="*/ 114205 w 137922"/>
                <a:gd name="connsiteY3" fmla="*/ 13240 h 217551"/>
                <a:gd name="connsiteX4" fmla="*/ 91726 w 137922"/>
                <a:gd name="connsiteY4" fmla="*/ 3143 h 217551"/>
                <a:gd name="connsiteX5" fmla="*/ 62389 w 137922"/>
                <a:gd name="connsiteY5" fmla="*/ 0 h 217551"/>
                <a:gd name="connsiteX6" fmla="*/ 0 w 137922"/>
                <a:gd name="connsiteY6" fmla="*/ 0 h 217551"/>
                <a:gd name="connsiteX7" fmla="*/ 0 w 137922"/>
                <a:gd name="connsiteY7" fmla="*/ 217551 h 217551"/>
                <a:gd name="connsiteX8" fmla="*/ 15145 w 137922"/>
                <a:gd name="connsiteY8" fmla="*/ 217551 h 217551"/>
                <a:gd name="connsiteX9" fmla="*/ 15145 w 137922"/>
                <a:gd name="connsiteY9" fmla="*/ 117539 h 217551"/>
                <a:gd name="connsiteX10" fmla="*/ 61341 w 137922"/>
                <a:gd name="connsiteY10" fmla="*/ 117539 h 217551"/>
                <a:gd name="connsiteX11" fmla="*/ 120396 w 137922"/>
                <a:gd name="connsiteY11" fmla="*/ 217551 h 217551"/>
                <a:gd name="connsiteX12" fmla="*/ 137922 w 137922"/>
                <a:gd name="connsiteY12" fmla="*/ 217551 h 217551"/>
                <a:gd name="connsiteX13" fmla="*/ 77819 w 137922"/>
                <a:gd name="connsiteY13" fmla="*/ 116491 h 217551"/>
                <a:gd name="connsiteX14" fmla="*/ 118681 w 137922"/>
                <a:gd name="connsiteY14" fmla="*/ 98393 h 217551"/>
                <a:gd name="connsiteX15" fmla="*/ 58388 w 137922"/>
                <a:gd name="connsiteY15" fmla="*/ 105061 h 217551"/>
                <a:gd name="connsiteX16" fmla="*/ 15145 w 137922"/>
                <a:gd name="connsiteY16" fmla="*/ 105061 h 217551"/>
                <a:gd name="connsiteX17" fmla="*/ 15145 w 137922"/>
                <a:gd name="connsiteY17" fmla="*/ 12954 h 217551"/>
                <a:gd name="connsiteX18" fmla="*/ 58388 w 137922"/>
                <a:gd name="connsiteY18" fmla="*/ 12954 h 217551"/>
                <a:gd name="connsiteX19" fmla="*/ 102584 w 137922"/>
                <a:gd name="connsiteY19" fmla="*/ 23051 h 217551"/>
                <a:gd name="connsiteX20" fmla="*/ 118110 w 137922"/>
                <a:gd name="connsiteY20" fmla="*/ 57531 h 217551"/>
                <a:gd name="connsiteX21" fmla="*/ 102775 w 137922"/>
                <a:gd name="connsiteY21" fmla="*/ 93345 h 217551"/>
                <a:gd name="connsiteX22" fmla="*/ 58388 w 137922"/>
                <a:gd name="connsiteY22" fmla="*/ 105061 h 217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7922" h="217551">
                  <a:moveTo>
                    <a:pt x="118681" y="98393"/>
                  </a:moveTo>
                  <a:cubicBezTo>
                    <a:pt x="128683" y="88487"/>
                    <a:pt x="133731" y="74867"/>
                    <a:pt x="133731" y="57436"/>
                  </a:cubicBezTo>
                  <a:cubicBezTo>
                    <a:pt x="133731" y="47054"/>
                    <a:pt x="132017" y="38291"/>
                    <a:pt x="128588" y="31052"/>
                  </a:cubicBezTo>
                  <a:cubicBezTo>
                    <a:pt x="125159" y="23813"/>
                    <a:pt x="120396" y="17812"/>
                    <a:pt x="114205" y="13240"/>
                  </a:cubicBezTo>
                  <a:cubicBezTo>
                    <a:pt x="108013" y="8572"/>
                    <a:pt x="100584" y="5239"/>
                    <a:pt x="91726" y="3143"/>
                  </a:cubicBezTo>
                  <a:cubicBezTo>
                    <a:pt x="82963" y="1048"/>
                    <a:pt x="73152" y="0"/>
                    <a:pt x="62389" y="0"/>
                  </a:cubicBezTo>
                  <a:lnTo>
                    <a:pt x="0" y="0"/>
                  </a:lnTo>
                  <a:lnTo>
                    <a:pt x="0" y="217551"/>
                  </a:lnTo>
                  <a:lnTo>
                    <a:pt x="15145" y="217551"/>
                  </a:lnTo>
                  <a:lnTo>
                    <a:pt x="15145" y="117539"/>
                  </a:lnTo>
                  <a:lnTo>
                    <a:pt x="61341" y="117539"/>
                  </a:lnTo>
                  <a:lnTo>
                    <a:pt x="120396" y="217551"/>
                  </a:lnTo>
                  <a:lnTo>
                    <a:pt x="137922" y="217551"/>
                  </a:lnTo>
                  <a:lnTo>
                    <a:pt x="77819" y="116491"/>
                  </a:lnTo>
                  <a:cubicBezTo>
                    <a:pt x="95059" y="114395"/>
                    <a:pt x="108680" y="108299"/>
                    <a:pt x="118681" y="98393"/>
                  </a:cubicBezTo>
                  <a:close/>
                  <a:moveTo>
                    <a:pt x="58388" y="105061"/>
                  </a:moveTo>
                  <a:lnTo>
                    <a:pt x="15145" y="105061"/>
                  </a:lnTo>
                  <a:lnTo>
                    <a:pt x="15145" y="12954"/>
                  </a:lnTo>
                  <a:lnTo>
                    <a:pt x="58388" y="12954"/>
                  </a:lnTo>
                  <a:cubicBezTo>
                    <a:pt x="77533" y="12954"/>
                    <a:pt x="92297" y="16288"/>
                    <a:pt x="102584" y="23051"/>
                  </a:cubicBezTo>
                  <a:cubicBezTo>
                    <a:pt x="112967" y="29813"/>
                    <a:pt x="118110" y="41243"/>
                    <a:pt x="118110" y="57531"/>
                  </a:cubicBezTo>
                  <a:cubicBezTo>
                    <a:pt x="118110" y="73628"/>
                    <a:pt x="112967" y="85535"/>
                    <a:pt x="102775" y="93345"/>
                  </a:cubicBezTo>
                  <a:cubicBezTo>
                    <a:pt x="92583" y="101156"/>
                    <a:pt x="77724" y="105061"/>
                    <a:pt x="58388" y="1050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9" name="Vrije vorm: vorm 38">
              <a:extLst>
                <a:ext uri="{FF2B5EF4-FFF2-40B4-BE49-F238E27FC236}">
                  <a16:creationId xmlns:a16="http://schemas.microsoft.com/office/drawing/2014/main" id="{453FBB5F-3B1C-4444-84E4-13A46EBEE504}"/>
                </a:ext>
              </a:extLst>
            </p:cNvPr>
            <p:cNvSpPr/>
            <p:nvPr/>
          </p:nvSpPr>
          <p:spPr>
            <a:xfrm>
              <a:off x="7053452" y="3314700"/>
              <a:ext cx="179165" cy="225456"/>
            </a:xfrm>
            <a:custGeom>
              <a:avLst/>
              <a:gdLst>
                <a:gd name="connsiteX0" fmla="*/ 154115 w 179165"/>
                <a:gd name="connsiteY0" fmla="*/ 30194 h 225456"/>
                <a:gd name="connsiteX1" fmla="*/ 125730 w 179165"/>
                <a:gd name="connsiteY1" fmla="*/ 7715 h 225456"/>
                <a:gd name="connsiteX2" fmla="*/ 89440 w 179165"/>
                <a:gd name="connsiteY2" fmla="*/ 0 h 225456"/>
                <a:gd name="connsiteX3" fmla="*/ 53435 w 179165"/>
                <a:gd name="connsiteY3" fmla="*/ 7715 h 225456"/>
                <a:gd name="connsiteX4" fmla="*/ 25051 w 179165"/>
                <a:gd name="connsiteY4" fmla="*/ 30194 h 225456"/>
                <a:gd name="connsiteX5" fmla="*/ 6572 w 179165"/>
                <a:gd name="connsiteY5" fmla="*/ 65532 h 225456"/>
                <a:gd name="connsiteX6" fmla="*/ 0 w 179165"/>
                <a:gd name="connsiteY6" fmla="*/ 111919 h 225456"/>
                <a:gd name="connsiteX7" fmla="*/ 6572 w 179165"/>
                <a:gd name="connsiteY7" fmla="*/ 158591 h 225456"/>
                <a:gd name="connsiteX8" fmla="*/ 25051 w 179165"/>
                <a:gd name="connsiteY8" fmla="*/ 194405 h 225456"/>
                <a:gd name="connsiteX9" fmla="*/ 53435 w 179165"/>
                <a:gd name="connsiteY9" fmla="*/ 217361 h 225456"/>
                <a:gd name="connsiteX10" fmla="*/ 89440 w 179165"/>
                <a:gd name="connsiteY10" fmla="*/ 225457 h 225456"/>
                <a:gd name="connsiteX11" fmla="*/ 125730 w 179165"/>
                <a:gd name="connsiteY11" fmla="*/ 217361 h 225456"/>
                <a:gd name="connsiteX12" fmla="*/ 154115 w 179165"/>
                <a:gd name="connsiteY12" fmla="*/ 194405 h 225456"/>
                <a:gd name="connsiteX13" fmla="*/ 172593 w 179165"/>
                <a:gd name="connsiteY13" fmla="*/ 158591 h 225456"/>
                <a:gd name="connsiteX14" fmla="*/ 179165 w 179165"/>
                <a:gd name="connsiteY14" fmla="*/ 111919 h 225456"/>
                <a:gd name="connsiteX15" fmla="*/ 172593 w 179165"/>
                <a:gd name="connsiteY15" fmla="*/ 65532 h 225456"/>
                <a:gd name="connsiteX16" fmla="*/ 154115 w 179165"/>
                <a:gd name="connsiteY16" fmla="*/ 30194 h 225456"/>
                <a:gd name="connsiteX17" fmla="*/ 157734 w 179165"/>
                <a:gd name="connsiteY17" fmla="*/ 152972 h 225456"/>
                <a:gd name="connsiteX18" fmla="*/ 142685 w 179165"/>
                <a:gd name="connsiteY18" fmla="*/ 184309 h 225456"/>
                <a:gd name="connsiteX19" fmla="*/ 119444 w 179165"/>
                <a:gd name="connsiteY19" fmla="*/ 204406 h 225456"/>
                <a:gd name="connsiteX20" fmla="*/ 89440 w 179165"/>
                <a:gd name="connsiteY20" fmla="*/ 211550 h 225456"/>
                <a:gd name="connsiteX21" fmla="*/ 59246 w 179165"/>
                <a:gd name="connsiteY21" fmla="*/ 204406 h 225456"/>
                <a:gd name="connsiteX22" fmla="*/ 36004 w 179165"/>
                <a:gd name="connsiteY22" fmla="*/ 184309 h 225456"/>
                <a:gd name="connsiteX23" fmla="*/ 21146 w 179165"/>
                <a:gd name="connsiteY23" fmla="*/ 152972 h 225456"/>
                <a:gd name="connsiteX24" fmla="*/ 15907 w 179165"/>
                <a:gd name="connsiteY24" fmla="*/ 111919 h 225456"/>
                <a:gd name="connsiteX25" fmla="*/ 21146 w 179165"/>
                <a:gd name="connsiteY25" fmla="*/ 71342 h 225456"/>
                <a:gd name="connsiteX26" fmla="*/ 36004 w 179165"/>
                <a:gd name="connsiteY26" fmla="*/ 40481 h 225456"/>
                <a:gd name="connsiteX27" fmla="*/ 59246 w 179165"/>
                <a:gd name="connsiteY27" fmla="*/ 20860 h 225456"/>
                <a:gd name="connsiteX28" fmla="*/ 89440 w 179165"/>
                <a:gd name="connsiteY28" fmla="*/ 13907 h 225456"/>
                <a:gd name="connsiteX29" fmla="*/ 119444 w 179165"/>
                <a:gd name="connsiteY29" fmla="*/ 20860 h 225456"/>
                <a:gd name="connsiteX30" fmla="*/ 142685 w 179165"/>
                <a:gd name="connsiteY30" fmla="*/ 40481 h 225456"/>
                <a:gd name="connsiteX31" fmla="*/ 157734 w 179165"/>
                <a:gd name="connsiteY31" fmla="*/ 71342 h 225456"/>
                <a:gd name="connsiteX32" fmla="*/ 162973 w 179165"/>
                <a:gd name="connsiteY32" fmla="*/ 111919 h 225456"/>
                <a:gd name="connsiteX33" fmla="*/ 157734 w 179165"/>
                <a:gd name="connsiteY33" fmla="*/ 152972 h 225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79165" h="225456">
                  <a:moveTo>
                    <a:pt x="154115" y="30194"/>
                  </a:moveTo>
                  <a:cubicBezTo>
                    <a:pt x="146209" y="20384"/>
                    <a:pt x="136684" y="12954"/>
                    <a:pt x="125730" y="7715"/>
                  </a:cubicBezTo>
                  <a:cubicBezTo>
                    <a:pt x="114776" y="2572"/>
                    <a:pt x="102679" y="0"/>
                    <a:pt x="89440" y="0"/>
                  </a:cubicBezTo>
                  <a:cubicBezTo>
                    <a:pt x="76486" y="0"/>
                    <a:pt x="64484" y="2572"/>
                    <a:pt x="53435" y="7715"/>
                  </a:cubicBezTo>
                  <a:cubicBezTo>
                    <a:pt x="42386" y="12859"/>
                    <a:pt x="32957" y="20384"/>
                    <a:pt x="25051" y="30194"/>
                  </a:cubicBezTo>
                  <a:cubicBezTo>
                    <a:pt x="17145" y="40005"/>
                    <a:pt x="10954" y="51816"/>
                    <a:pt x="6572" y="65532"/>
                  </a:cubicBezTo>
                  <a:cubicBezTo>
                    <a:pt x="2191" y="79248"/>
                    <a:pt x="0" y="94774"/>
                    <a:pt x="0" y="111919"/>
                  </a:cubicBezTo>
                  <a:cubicBezTo>
                    <a:pt x="0" y="129064"/>
                    <a:pt x="2191" y="144685"/>
                    <a:pt x="6572" y="158591"/>
                  </a:cubicBezTo>
                  <a:cubicBezTo>
                    <a:pt x="10954" y="172593"/>
                    <a:pt x="17145" y="184499"/>
                    <a:pt x="25051" y="194405"/>
                  </a:cubicBezTo>
                  <a:cubicBezTo>
                    <a:pt x="32957" y="204311"/>
                    <a:pt x="42482" y="211931"/>
                    <a:pt x="53435" y="217361"/>
                  </a:cubicBezTo>
                  <a:cubicBezTo>
                    <a:pt x="64389" y="222790"/>
                    <a:pt x="76486" y="225457"/>
                    <a:pt x="89440" y="225457"/>
                  </a:cubicBezTo>
                  <a:cubicBezTo>
                    <a:pt x="102679" y="225457"/>
                    <a:pt x="114776" y="222790"/>
                    <a:pt x="125730" y="217361"/>
                  </a:cubicBezTo>
                  <a:cubicBezTo>
                    <a:pt x="136779" y="211931"/>
                    <a:pt x="146209" y="204311"/>
                    <a:pt x="154115" y="194405"/>
                  </a:cubicBezTo>
                  <a:cubicBezTo>
                    <a:pt x="162020" y="184499"/>
                    <a:pt x="168212" y="172593"/>
                    <a:pt x="172593" y="158591"/>
                  </a:cubicBezTo>
                  <a:cubicBezTo>
                    <a:pt x="176975" y="144590"/>
                    <a:pt x="179165" y="129064"/>
                    <a:pt x="179165" y="111919"/>
                  </a:cubicBezTo>
                  <a:cubicBezTo>
                    <a:pt x="179165" y="94774"/>
                    <a:pt x="176975" y="79248"/>
                    <a:pt x="172593" y="65532"/>
                  </a:cubicBezTo>
                  <a:cubicBezTo>
                    <a:pt x="168212" y="51816"/>
                    <a:pt x="162116" y="40005"/>
                    <a:pt x="154115" y="30194"/>
                  </a:cubicBezTo>
                  <a:close/>
                  <a:moveTo>
                    <a:pt x="157734" y="152972"/>
                  </a:moveTo>
                  <a:cubicBezTo>
                    <a:pt x="154210" y="165164"/>
                    <a:pt x="149162" y="175641"/>
                    <a:pt x="142685" y="184309"/>
                  </a:cubicBezTo>
                  <a:cubicBezTo>
                    <a:pt x="136208" y="192977"/>
                    <a:pt x="128397" y="199739"/>
                    <a:pt x="119444" y="204406"/>
                  </a:cubicBezTo>
                  <a:cubicBezTo>
                    <a:pt x="110395" y="209169"/>
                    <a:pt x="100394" y="211550"/>
                    <a:pt x="89440" y="211550"/>
                  </a:cubicBezTo>
                  <a:cubicBezTo>
                    <a:pt x="78486" y="211550"/>
                    <a:pt x="68390" y="209169"/>
                    <a:pt x="59246" y="204406"/>
                  </a:cubicBezTo>
                  <a:cubicBezTo>
                    <a:pt x="50102" y="199644"/>
                    <a:pt x="42386" y="192977"/>
                    <a:pt x="36004" y="184309"/>
                  </a:cubicBezTo>
                  <a:cubicBezTo>
                    <a:pt x="29623" y="175641"/>
                    <a:pt x="24670" y="165164"/>
                    <a:pt x="21146" y="152972"/>
                  </a:cubicBezTo>
                  <a:cubicBezTo>
                    <a:pt x="17621" y="140780"/>
                    <a:pt x="15907" y="127064"/>
                    <a:pt x="15907" y="111919"/>
                  </a:cubicBezTo>
                  <a:cubicBezTo>
                    <a:pt x="15907" y="96965"/>
                    <a:pt x="17621" y="83439"/>
                    <a:pt x="21146" y="71342"/>
                  </a:cubicBezTo>
                  <a:cubicBezTo>
                    <a:pt x="24670" y="59245"/>
                    <a:pt x="29623" y="48959"/>
                    <a:pt x="36004" y="40481"/>
                  </a:cubicBezTo>
                  <a:cubicBezTo>
                    <a:pt x="42386" y="32004"/>
                    <a:pt x="50102" y="25432"/>
                    <a:pt x="59246" y="20860"/>
                  </a:cubicBezTo>
                  <a:cubicBezTo>
                    <a:pt x="68390" y="16193"/>
                    <a:pt x="78486" y="13907"/>
                    <a:pt x="89440" y="13907"/>
                  </a:cubicBezTo>
                  <a:cubicBezTo>
                    <a:pt x="100394" y="13907"/>
                    <a:pt x="110490" y="16193"/>
                    <a:pt x="119444" y="20860"/>
                  </a:cubicBezTo>
                  <a:cubicBezTo>
                    <a:pt x="128492" y="25432"/>
                    <a:pt x="136208" y="32004"/>
                    <a:pt x="142685" y="40481"/>
                  </a:cubicBezTo>
                  <a:cubicBezTo>
                    <a:pt x="149162" y="48959"/>
                    <a:pt x="154210" y="59245"/>
                    <a:pt x="157734" y="71342"/>
                  </a:cubicBezTo>
                  <a:cubicBezTo>
                    <a:pt x="161258" y="83439"/>
                    <a:pt x="162973" y="96965"/>
                    <a:pt x="162973" y="111919"/>
                  </a:cubicBezTo>
                  <a:cubicBezTo>
                    <a:pt x="163068" y="127064"/>
                    <a:pt x="161258" y="140780"/>
                    <a:pt x="157734" y="15297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0" name="Vrije vorm: vorm 39">
              <a:extLst>
                <a:ext uri="{FF2B5EF4-FFF2-40B4-BE49-F238E27FC236}">
                  <a16:creationId xmlns:a16="http://schemas.microsoft.com/office/drawing/2014/main" id="{A4557DFE-617F-46A1-8934-2FC66EE8FB9E}"/>
                </a:ext>
              </a:extLst>
            </p:cNvPr>
            <p:cNvSpPr/>
            <p:nvPr/>
          </p:nvSpPr>
          <p:spPr>
            <a:xfrm>
              <a:off x="7285386" y="3318700"/>
              <a:ext cx="146589" cy="221456"/>
            </a:xfrm>
            <a:custGeom>
              <a:avLst/>
              <a:gdLst>
                <a:gd name="connsiteX0" fmla="*/ 132207 w 146589"/>
                <a:gd name="connsiteY0" fmla="*/ 132302 h 221456"/>
                <a:gd name="connsiteX1" fmla="*/ 127254 w 146589"/>
                <a:gd name="connsiteY1" fmla="*/ 168402 h 221456"/>
                <a:gd name="connsiteX2" fmla="*/ 114205 w 146589"/>
                <a:gd name="connsiteY2" fmla="*/ 191548 h 221456"/>
                <a:gd name="connsiteX3" fmla="*/ 95345 w 146589"/>
                <a:gd name="connsiteY3" fmla="*/ 203930 h 221456"/>
                <a:gd name="connsiteX4" fmla="*/ 72771 w 146589"/>
                <a:gd name="connsiteY4" fmla="*/ 207550 h 221456"/>
                <a:gd name="connsiteX5" fmla="*/ 50863 w 146589"/>
                <a:gd name="connsiteY5" fmla="*/ 203930 h 221456"/>
                <a:gd name="connsiteX6" fmla="*/ 32576 w 146589"/>
                <a:gd name="connsiteY6" fmla="*/ 191548 h 221456"/>
                <a:gd name="connsiteX7" fmla="*/ 19907 w 146589"/>
                <a:gd name="connsiteY7" fmla="*/ 168402 h 221456"/>
                <a:gd name="connsiteX8" fmla="*/ 15145 w 146589"/>
                <a:gd name="connsiteY8" fmla="*/ 132302 h 221456"/>
                <a:gd name="connsiteX9" fmla="*/ 15145 w 146589"/>
                <a:gd name="connsiteY9" fmla="*/ 0 h 221456"/>
                <a:gd name="connsiteX10" fmla="*/ 0 w 146589"/>
                <a:gd name="connsiteY10" fmla="*/ 0 h 221456"/>
                <a:gd name="connsiteX11" fmla="*/ 0 w 146589"/>
                <a:gd name="connsiteY11" fmla="*/ 134017 h 221456"/>
                <a:gd name="connsiteX12" fmla="*/ 6096 w 146589"/>
                <a:gd name="connsiteY12" fmla="*/ 176308 h 221456"/>
                <a:gd name="connsiteX13" fmla="*/ 22479 w 146589"/>
                <a:gd name="connsiteY13" fmla="*/ 203168 h 221456"/>
                <a:gd name="connsiteX14" fmla="*/ 45911 w 146589"/>
                <a:gd name="connsiteY14" fmla="*/ 217361 h 221456"/>
                <a:gd name="connsiteX15" fmla="*/ 72962 w 146589"/>
                <a:gd name="connsiteY15" fmla="*/ 221456 h 221456"/>
                <a:gd name="connsiteX16" fmla="*/ 100394 w 146589"/>
                <a:gd name="connsiteY16" fmla="*/ 217361 h 221456"/>
                <a:gd name="connsiteX17" fmla="*/ 123825 w 146589"/>
                <a:gd name="connsiteY17" fmla="*/ 203168 h 221456"/>
                <a:gd name="connsiteX18" fmla="*/ 140303 w 146589"/>
                <a:gd name="connsiteY18" fmla="*/ 176308 h 221456"/>
                <a:gd name="connsiteX19" fmla="*/ 146590 w 146589"/>
                <a:gd name="connsiteY19" fmla="*/ 134017 h 221456"/>
                <a:gd name="connsiteX20" fmla="*/ 146590 w 146589"/>
                <a:gd name="connsiteY20" fmla="*/ 0 h 221456"/>
                <a:gd name="connsiteX21" fmla="*/ 132397 w 146589"/>
                <a:gd name="connsiteY21" fmla="*/ 0 h 221456"/>
                <a:gd name="connsiteX22" fmla="*/ 132397 w 146589"/>
                <a:gd name="connsiteY22" fmla="*/ 132302 h 22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6589" h="221456">
                  <a:moveTo>
                    <a:pt x="132207" y="132302"/>
                  </a:moveTo>
                  <a:cubicBezTo>
                    <a:pt x="132207" y="146780"/>
                    <a:pt x="130588" y="158877"/>
                    <a:pt x="127254" y="168402"/>
                  </a:cubicBezTo>
                  <a:cubicBezTo>
                    <a:pt x="123920" y="178022"/>
                    <a:pt x="119634" y="185642"/>
                    <a:pt x="114205" y="191548"/>
                  </a:cubicBezTo>
                  <a:cubicBezTo>
                    <a:pt x="108776" y="197358"/>
                    <a:pt x="102584" y="201549"/>
                    <a:pt x="95345" y="203930"/>
                  </a:cubicBezTo>
                  <a:cubicBezTo>
                    <a:pt x="88202" y="206312"/>
                    <a:pt x="80677" y="207550"/>
                    <a:pt x="72771" y="207550"/>
                  </a:cubicBezTo>
                  <a:cubicBezTo>
                    <a:pt x="65056" y="207550"/>
                    <a:pt x="57721" y="206312"/>
                    <a:pt x="50863" y="203930"/>
                  </a:cubicBezTo>
                  <a:cubicBezTo>
                    <a:pt x="43910" y="201549"/>
                    <a:pt x="37814" y="197358"/>
                    <a:pt x="32576" y="191548"/>
                  </a:cubicBezTo>
                  <a:cubicBezTo>
                    <a:pt x="27337" y="185738"/>
                    <a:pt x="23051" y="178022"/>
                    <a:pt x="19907" y="168402"/>
                  </a:cubicBezTo>
                  <a:cubicBezTo>
                    <a:pt x="16764" y="158877"/>
                    <a:pt x="15145" y="146780"/>
                    <a:pt x="15145" y="132302"/>
                  </a:cubicBezTo>
                  <a:lnTo>
                    <a:pt x="15145" y="0"/>
                  </a:lnTo>
                  <a:lnTo>
                    <a:pt x="0" y="0"/>
                  </a:lnTo>
                  <a:lnTo>
                    <a:pt x="0" y="134017"/>
                  </a:lnTo>
                  <a:cubicBezTo>
                    <a:pt x="0" y="150971"/>
                    <a:pt x="2000" y="165068"/>
                    <a:pt x="6096" y="176308"/>
                  </a:cubicBezTo>
                  <a:cubicBezTo>
                    <a:pt x="10192" y="187547"/>
                    <a:pt x="15621" y="196501"/>
                    <a:pt x="22479" y="203168"/>
                  </a:cubicBezTo>
                  <a:cubicBezTo>
                    <a:pt x="29337" y="209931"/>
                    <a:pt x="37147" y="214598"/>
                    <a:pt x="45911" y="217361"/>
                  </a:cubicBezTo>
                  <a:cubicBezTo>
                    <a:pt x="54673" y="220123"/>
                    <a:pt x="63722" y="221456"/>
                    <a:pt x="72962" y="221456"/>
                  </a:cubicBezTo>
                  <a:cubicBezTo>
                    <a:pt x="82391" y="221456"/>
                    <a:pt x="91535" y="220123"/>
                    <a:pt x="100394" y="217361"/>
                  </a:cubicBezTo>
                  <a:cubicBezTo>
                    <a:pt x="109156" y="214598"/>
                    <a:pt x="116967" y="209836"/>
                    <a:pt x="123825" y="203168"/>
                  </a:cubicBezTo>
                  <a:cubicBezTo>
                    <a:pt x="130683" y="196501"/>
                    <a:pt x="136112" y="187452"/>
                    <a:pt x="140303" y="176308"/>
                  </a:cubicBezTo>
                  <a:cubicBezTo>
                    <a:pt x="144494" y="165068"/>
                    <a:pt x="146590" y="150971"/>
                    <a:pt x="146590" y="134017"/>
                  </a:cubicBezTo>
                  <a:lnTo>
                    <a:pt x="146590" y="0"/>
                  </a:lnTo>
                  <a:lnTo>
                    <a:pt x="132397" y="0"/>
                  </a:lnTo>
                  <a:lnTo>
                    <a:pt x="132397" y="13230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1" name="Vrije vorm: vorm 40">
              <a:extLst>
                <a:ext uri="{FF2B5EF4-FFF2-40B4-BE49-F238E27FC236}">
                  <a16:creationId xmlns:a16="http://schemas.microsoft.com/office/drawing/2014/main" id="{883E655B-D426-4E62-8198-CC31196AE051}"/>
                </a:ext>
              </a:extLst>
            </p:cNvPr>
            <p:cNvSpPr/>
            <p:nvPr/>
          </p:nvSpPr>
          <p:spPr>
            <a:xfrm>
              <a:off x="7498460" y="3318605"/>
              <a:ext cx="133731" cy="217551"/>
            </a:xfrm>
            <a:custGeom>
              <a:avLst/>
              <a:gdLst>
                <a:gd name="connsiteX0" fmla="*/ 128207 w 133731"/>
                <a:gd name="connsiteY0" fmla="*/ 32385 h 217551"/>
                <a:gd name="connsiteX1" fmla="*/ 112681 w 133731"/>
                <a:gd name="connsiteY1" fmla="*/ 13526 h 217551"/>
                <a:gd name="connsiteX2" fmla="*/ 87916 w 133731"/>
                <a:gd name="connsiteY2" fmla="*/ 3143 h 217551"/>
                <a:gd name="connsiteX3" fmla="*/ 54769 w 133731"/>
                <a:gd name="connsiteY3" fmla="*/ 0 h 217551"/>
                <a:gd name="connsiteX4" fmla="*/ 0 w 133731"/>
                <a:gd name="connsiteY4" fmla="*/ 0 h 217551"/>
                <a:gd name="connsiteX5" fmla="*/ 0 w 133731"/>
                <a:gd name="connsiteY5" fmla="*/ 217551 h 217551"/>
                <a:gd name="connsiteX6" fmla="*/ 15145 w 133731"/>
                <a:gd name="connsiteY6" fmla="*/ 217551 h 217551"/>
                <a:gd name="connsiteX7" fmla="*/ 15145 w 133731"/>
                <a:gd name="connsiteY7" fmla="*/ 124111 h 217551"/>
                <a:gd name="connsiteX8" fmla="*/ 56102 w 133731"/>
                <a:gd name="connsiteY8" fmla="*/ 124111 h 217551"/>
                <a:gd name="connsiteX9" fmla="*/ 113252 w 133731"/>
                <a:gd name="connsiteY9" fmla="*/ 108395 h 217551"/>
                <a:gd name="connsiteX10" fmla="*/ 133731 w 133731"/>
                <a:gd name="connsiteY10" fmla="*/ 60674 h 217551"/>
                <a:gd name="connsiteX11" fmla="*/ 128207 w 133731"/>
                <a:gd name="connsiteY11" fmla="*/ 32385 h 217551"/>
                <a:gd name="connsiteX12" fmla="*/ 102013 w 133731"/>
                <a:gd name="connsiteY12" fmla="*/ 99441 h 217551"/>
                <a:gd name="connsiteX13" fmla="*/ 52483 w 133731"/>
                <a:gd name="connsiteY13" fmla="*/ 111347 h 217551"/>
                <a:gd name="connsiteX14" fmla="*/ 15145 w 133731"/>
                <a:gd name="connsiteY14" fmla="*/ 111347 h 217551"/>
                <a:gd name="connsiteX15" fmla="*/ 15145 w 133731"/>
                <a:gd name="connsiteY15" fmla="*/ 12954 h 217551"/>
                <a:gd name="connsiteX16" fmla="*/ 51149 w 133731"/>
                <a:gd name="connsiteY16" fmla="*/ 12954 h 217551"/>
                <a:gd name="connsiteX17" fmla="*/ 101537 w 133731"/>
                <a:gd name="connsiteY17" fmla="*/ 23146 h 217551"/>
                <a:gd name="connsiteX18" fmla="*/ 118205 w 133731"/>
                <a:gd name="connsiteY18" fmla="*/ 60770 h 217551"/>
                <a:gd name="connsiteX19" fmla="*/ 102013 w 133731"/>
                <a:gd name="connsiteY19" fmla="*/ 99441 h 217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33731" h="217551">
                  <a:moveTo>
                    <a:pt x="128207" y="32385"/>
                  </a:moveTo>
                  <a:cubicBezTo>
                    <a:pt x="124587" y="24670"/>
                    <a:pt x="119444" y="18383"/>
                    <a:pt x="112681" y="13526"/>
                  </a:cubicBezTo>
                  <a:cubicBezTo>
                    <a:pt x="105918" y="8668"/>
                    <a:pt x="97727" y="5239"/>
                    <a:pt x="87916" y="3143"/>
                  </a:cubicBezTo>
                  <a:cubicBezTo>
                    <a:pt x="78105" y="1048"/>
                    <a:pt x="67056" y="0"/>
                    <a:pt x="54769" y="0"/>
                  </a:cubicBezTo>
                  <a:lnTo>
                    <a:pt x="0" y="0"/>
                  </a:lnTo>
                  <a:lnTo>
                    <a:pt x="0" y="217551"/>
                  </a:lnTo>
                  <a:lnTo>
                    <a:pt x="15145" y="217551"/>
                  </a:lnTo>
                  <a:lnTo>
                    <a:pt x="15145" y="124111"/>
                  </a:lnTo>
                  <a:lnTo>
                    <a:pt x="56102" y="124111"/>
                  </a:lnTo>
                  <a:cubicBezTo>
                    <a:pt x="80486" y="124111"/>
                    <a:pt x="99536" y="118872"/>
                    <a:pt x="113252" y="108395"/>
                  </a:cubicBezTo>
                  <a:cubicBezTo>
                    <a:pt x="126873" y="97917"/>
                    <a:pt x="133731" y="82010"/>
                    <a:pt x="133731" y="60674"/>
                  </a:cubicBezTo>
                  <a:cubicBezTo>
                    <a:pt x="133636" y="49530"/>
                    <a:pt x="131826" y="40100"/>
                    <a:pt x="128207" y="32385"/>
                  </a:cubicBezTo>
                  <a:close/>
                  <a:moveTo>
                    <a:pt x="102013" y="99441"/>
                  </a:moveTo>
                  <a:cubicBezTo>
                    <a:pt x="91250" y="107347"/>
                    <a:pt x="74676" y="111347"/>
                    <a:pt x="52483" y="111347"/>
                  </a:cubicBezTo>
                  <a:lnTo>
                    <a:pt x="15145" y="111347"/>
                  </a:lnTo>
                  <a:lnTo>
                    <a:pt x="15145" y="12954"/>
                  </a:lnTo>
                  <a:lnTo>
                    <a:pt x="51149" y="12954"/>
                  </a:lnTo>
                  <a:cubicBezTo>
                    <a:pt x="73628" y="12954"/>
                    <a:pt x="90392" y="16383"/>
                    <a:pt x="101537" y="23146"/>
                  </a:cubicBezTo>
                  <a:cubicBezTo>
                    <a:pt x="112681" y="30004"/>
                    <a:pt x="118205" y="42482"/>
                    <a:pt x="118205" y="60770"/>
                  </a:cubicBezTo>
                  <a:cubicBezTo>
                    <a:pt x="118110" y="78581"/>
                    <a:pt x="112776" y="91535"/>
                    <a:pt x="102013" y="9944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3253411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DAF7F0BE-1368-471B-96B8-BC58087E4A1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Graphic 12">
            <a:extLst>
              <a:ext uri="{FF2B5EF4-FFF2-40B4-BE49-F238E27FC236}">
                <a16:creationId xmlns:a16="http://schemas.microsoft.com/office/drawing/2014/main" id="{ED5A55CD-6CAF-4D7C-AF10-895CA7526B23}"/>
              </a:ext>
            </a:extLst>
          </p:cNvPr>
          <p:cNvSpPr/>
          <p:nvPr userDrawn="1"/>
        </p:nvSpPr>
        <p:spPr>
          <a:xfrm rot="17820000" flipV="1">
            <a:off x="3945233" y="1248685"/>
            <a:ext cx="4786075" cy="5096281"/>
          </a:xfrm>
          <a:custGeom>
            <a:avLst/>
            <a:gdLst>
              <a:gd name="connsiteX0" fmla="*/ 3288083 w 5210478"/>
              <a:gd name="connsiteY0" fmla="*/ 28935 h 5548193"/>
              <a:gd name="connsiteX1" fmla="*/ 3167591 w 5210478"/>
              <a:gd name="connsiteY1" fmla="*/ 130757 h 5548193"/>
              <a:gd name="connsiteX2" fmla="*/ 45391 w 5210478"/>
              <a:gd name="connsiteY2" fmla="*/ 2660597 h 5548193"/>
              <a:gd name="connsiteX3" fmla="*/ 2529 w 5210478"/>
              <a:gd name="connsiteY3" fmla="*/ 2780612 h 5548193"/>
              <a:gd name="connsiteX4" fmla="*/ 556027 w 5210478"/>
              <a:gd name="connsiteY4" fmla="*/ 5450565 h 5548193"/>
              <a:gd name="connsiteX5" fmla="*/ 700807 w 5210478"/>
              <a:gd name="connsiteY5" fmla="*/ 5545624 h 5548193"/>
              <a:gd name="connsiteX6" fmla="*/ 5112787 w 5210478"/>
              <a:gd name="connsiteY6" fmla="*/ 4631415 h 5548193"/>
              <a:gd name="connsiteX7" fmla="*/ 5207846 w 5210478"/>
              <a:gd name="connsiteY7" fmla="*/ 4486350 h 5548193"/>
              <a:gd name="connsiteX8" fmla="*/ 4907333 w 5210478"/>
              <a:gd name="connsiteY8" fmla="*/ 3052265 h 5548193"/>
              <a:gd name="connsiteX9" fmla="*/ 3564879 w 5210478"/>
              <a:gd name="connsiteY9" fmla="*/ 161713 h 5548193"/>
              <a:gd name="connsiteX10" fmla="*/ 3459152 w 5210478"/>
              <a:gd name="connsiteY10" fmla="*/ 41603 h 5548193"/>
              <a:gd name="connsiteX11" fmla="*/ 3288083 w 5210478"/>
              <a:gd name="connsiteY11" fmla="*/ 28935 h 5548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210478" h="5548193">
                <a:moveTo>
                  <a:pt x="3288083" y="28935"/>
                </a:moveTo>
                <a:lnTo>
                  <a:pt x="3167591" y="130757"/>
                </a:lnTo>
                <a:lnTo>
                  <a:pt x="45391" y="2660597"/>
                </a:lnTo>
                <a:cubicBezTo>
                  <a:pt x="9768" y="2689458"/>
                  <a:pt x="-6710" y="2735750"/>
                  <a:pt x="2529" y="2780612"/>
                </a:cubicBezTo>
                <a:lnTo>
                  <a:pt x="556027" y="5450565"/>
                </a:lnTo>
                <a:cubicBezTo>
                  <a:pt x="569743" y="5516764"/>
                  <a:pt x="634608" y="5559340"/>
                  <a:pt x="700807" y="5545624"/>
                </a:cubicBezTo>
                <a:lnTo>
                  <a:pt x="5112787" y="4631415"/>
                </a:lnTo>
                <a:cubicBezTo>
                  <a:pt x="5179176" y="4617699"/>
                  <a:pt x="5221753" y="4552643"/>
                  <a:pt x="5207846" y="4486350"/>
                </a:cubicBezTo>
                <a:lnTo>
                  <a:pt x="4907333" y="3052265"/>
                </a:lnTo>
                <a:cubicBezTo>
                  <a:pt x="4663112" y="1855925"/>
                  <a:pt x="4207436" y="890947"/>
                  <a:pt x="3564879" y="161713"/>
                </a:cubicBezTo>
                <a:lnTo>
                  <a:pt x="3459152" y="41603"/>
                </a:lnTo>
                <a:cubicBezTo>
                  <a:pt x="3415051" y="-8498"/>
                  <a:pt x="3339041" y="-14118"/>
                  <a:pt x="3288083" y="28935"/>
                </a:cubicBezTo>
                <a:close/>
              </a:path>
            </a:pathLst>
          </a:custGeom>
          <a:noFill/>
          <a:ln w="9525" cap="flat">
            <a:solidFill>
              <a:srgbClr val="B7ADE4">
                <a:alpha val="2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GB" sz="180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1253528" y="1852851"/>
            <a:ext cx="9684947" cy="3152301"/>
          </a:xfr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Place your text or quote here</a:t>
            </a:r>
            <a:endParaRPr lang="en-GB"/>
          </a:p>
        </p:txBody>
      </p:sp>
      <p:grpSp>
        <p:nvGrpSpPr>
          <p:cNvPr id="26" name="Graphic 17">
            <a:extLst>
              <a:ext uri="{FF2B5EF4-FFF2-40B4-BE49-F238E27FC236}">
                <a16:creationId xmlns:a16="http://schemas.microsoft.com/office/drawing/2014/main" id="{F9F8F171-0C93-49C9-BAAE-CBDE2940DCDC}"/>
              </a:ext>
            </a:extLst>
          </p:cNvPr>
          <p:cNvGrpSpPr/>
          <p:nvPr userDrawn="1"/>
        </p:nvGrpSpPr>
        <p:grpSpPr>
          <a:xfrm>
            <a:off x="696137" y="6432478"/>
            <a:ext cx="1356871" cy="99501"/>
            <a:chOff x="4557712" y="3314700"/>
            <a:chExt cx="3074479" cy="225456"/>
          </a:xfrm>
          <a:solidFill>
            <a:schemeClr val="bg1"/>
          </a:solidFill>
        </p:grpSpPr>
        <p:sp>
          <p:nvSpPr>
            <p:cNvPr id="27" name="Vrije vorm: vorm 26">
              <a:extLst>
                <a:ext uri="{FF2B5EF4-FFF2-40B4-BE49-F238E27FC236}">
                  <a16:creationId xmlns:a16="http://schemas.microsoft.com/office/drawing/2014/main" id="{50BB20AB-E1F1-46BD-B2E3-7DCAED6D0642}"/>
                </a:ext>
              </a:extLst>
            </p:cNvPr>
            <p:cNvSpPr/>
            <p:nvPr/>
          </p:nvSpPr>
          <p:spPr>
            <a:xfrm>
              <a:off x="4557712" y="3316033"/>
              <a:ext cx="157448" cy="220218"/>
            </a:xfrm>
            <a:custGeom>
              <a:avLst/>
              <a:gdLst>
                <a:gd name="connsiteX0" fmla="*/ 116205 w 157448"/>
                <a:gd name="connsiteY0" fmla="*/ 103346 h 220218"/>
                <a:gd name="connsiteX1" fmla="*/ 116205 w 157448"/>
                <a:gd name="connsiteY1" fmla="*/ 102013 h 220218"/>
                <a:gd name="connsiteX2" fmla="*/ 146209 w 157448"/>
                <a:gd name="connsiteY2" fmla="*/ 54197 h 220218"/>
                <a:gd name="connsiteX3" fmla="*/ 68961 w 157448"/>
                <a:gd name="connsiteY3" fmla="*/ 0 h 220218"/>
                <a:gd name="connsiteX4" fmla="*/ 0 w 157448"/>
                <a:gd name="connsiteY4" fmla="*/ 0 h 220218"/>
                <a:gd name="connsiteX5" fmla="*/ 0 w 157448"/>
                <a:gd name="connsiteY5" fmla="*/ 220218 h 220218"/>
                <a:gd name="connsiteX6" fmla="*/ 74581 w 157448"/>
                <a:gd name="connsiteY6" fmla="*/ 220218 h 220218"/>
                <a:gd name="connsiteX7" fmla="*/ 157448 w 157448"/>
                <a:gd name="connsiteY7" fmla="*/ 155543 h 220218"/>
                <a:gd name="connsiteX8" fmla="*/ 116205 w 157448"/>
                <a:gd name="connsiteY8" fmla="*/ 103346 h 220218"/>
                <a:gd name="connsiteX9" fmla="*/ 38291 w 157448"/>
                <a:gd name="connsiteY9" fmla="*/ 30290 h 220218"/>
                <a:gd name="connsiteX10" fmla="*/ 66389 w 157448"/>
                <a:gd name="connsiteY10" fmla="*/ 30290 h 220218"/>
                <a:gd name="connsiteX11" fmla="*/ 108680 w 157448"/>
                <a:gd name="connsiteY11" fmla="*/ 59912 h 220218"/>
                <a:gd name="connsiteX12" fmla="*/ 65818 w 157448"/>
                <a:gd name="connsiteY12" fmla="*/ 90869 h 220218"/>
                <a:gd name="connsiteX13" fmla="*/ 38291 w 157448"/>
                <a:gd name="connsiteY13" fmla="*/ 90869 h 220218"/>
                <a:gd name="connsiteX14" fmla="*/ 38291 w 157448"/>
                <a:gd name="connsiteY14" fmla="*/ 30290 h 220218"/>
                <a:gd name="connsiteX15" fmla="*/ 70676 w 157448"/>
                <a:gd name="connsiteY15" fmla="*/ 189833 h 220218"/>
                <a:gd name="connsiteX16" fmla="*/ 38291 w 157448"/>
                <a:gd name="connsiteY16" fmla="*/ 189833 h 220218"/>
                <a:gd name="connsiteX17" fmla="*/ 38291 w 157448"/>
                <a:gd name="connsiteY17" fmla="*/ 120110 h 220218"/>
                <a:gd name="connsiteX18" fmla="*/ 70676 w 157448"/>
                <a:gd name="connsiteY18" fmla="*/ 120110 h 220218"/>
                <a:gd name="connsiteX19" fmla="*/ 120206 w 157448"/>
                <a:gd name="connsiteY19" fmla="*/ 153448 h 220218"/>
                <a:gd name="connsiteX20" fmla="*/ 70676 w 157448"/>
                <a:gd name="connsiteY20" fmla="*/ 189833 h 220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57448" h="220218">
                  <a:moveTo>
                    <a:pt x="116205" y="103346"/>
                  </a:moveTo>
                  <a:lnTo>
                    <a:pt x="116205" y="102013"/>
                  </a:lnTo>
                  <a:cubicBezTo>
                    <a:pt x="135065" y="95250"/>
                    <a:pt x="146209" y="75057"/>
                    <a:pt x="146209" y="54197"/>
                  </a:cubicBezTo>
                  <a:cubicBezTo>
                    <a:pt x="146209" y="13811"/>
                    <a:pt x="113538" y="0"/>
                    <a:pt x="68961" y="0"/>
                  </a:cubicBezTo>
                  <a:lnTo>
                    <a:pt x="0" y="0"/>
                  </a:lnTo>
                  <a:lnTo>
                    <a:pt x="0" y="220218"/>
                  </a:lnTo>
                  <a:lnTo>
                    <a:pt x="74581" y="220218"/>
                  </a:lnTo>
                  <a:cubicBezTo>
                    <a:pt x="122111" y="220218"/>
                    <a:pt x="157448" y="199644"/>
                    <a:pt x="157448" y="155543"/>
                  </a:cubicBezTo>
                  <a:cubicBezTo>
                    <a:pt x="157448" y="125921"/>
                    <a:pt x="139922" y="108680"/>
                    <a:pt x="116205" y="103346"/>
                  </a:cubicBezTo>
                  <a:close/>
                  <a:moveTo>
                    <a:pt x="38291" y="30290"/>
                  </a:moveTo>
                  <a:lnTo>
                    <a:pt x="66389" y="30290"/>
                  </a:lnTo>
                  <a:cubicBezTo>
                    <a:pt x="94488" y="30290"/>
                    <a:pt x="108680" y="38386"/>
                    <a:pt x="108680" y="59912"/>
                  </a:cubicBezTo>
                  <a:cubicBezTo>
                    <a:pt x="108680" y="78772"/>
                    <a:pt x="95822" y="90869"/>
                    <a:pt x="65818" y="90869"/>
                  </a:cubicBezTo>
                  <a:lnTo>
                    <a:pt x="38291" y="90869"/>
                  </a:lnTo>
                  <a:lnTo>
                    <a:pt x="38291" y="30290"/>
                  </a:lnTo>
                  <a:close/>
                  <a:moveTo>
                    <a:pt x="70676" y="189833"/>
                  </a:moveTo>
                  <a:lnTo>
                    <a:pt x="38291" y="189833"/>
                  </a:lnTo>
                  <a:lnTo>
                    <a:pt x="38291" y="120110"/>
                  </a:lnTo>
                  <a:lnTo>
                    <a:pt x="70676" y="120110"/>
                  </a:lnTo>
                  <a:cubicBezTo>
                    <a:pt x="103061" y="120110"/>
                    <a:pt x="120206" y="130207"/>
                    <a:pt x="120206" y="153448"/>
                  </a:cubicBezTo>
                  <a:cubicBezTo>
                    <a:pt x="120110" y="178118"/>
                    <a:pt x="102299" y="189833"/>
                    <a:pt x="70676" y="18983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8" name="Vrije vorm: vorm 27">
              <a:extLst>
                <a:ext uri="{FF2B5EF4-FFF2-40B4-BE49-F238E27FC236}">
                  <a16:creationId xmlns:a16="http://schemas.microsoft.com/office/drawing/2014/main" id="{A8D306C4-D77D-4248-BD1D-0861759695FB}"/>
                </a:ext>
              </a:extLst>
            </p:cNvPr>
            <p:cNvSpPr/>
            <p:nvPr/>
          </p:nvSpPr>
          <p:spPr>
            <a:xfrm>
              <a:off x="4758118" y="3315938"/>
              <a:ext cx="162686" cy="220218"/>
            </a:xfrm>
            <a:custGeom>
              <a:avLst/>
              <a:gdLst>
                <a:gd name="connsiteX0" fmla="*/ 57721 w 162686"/>
                <a:gd name="connsiteY0" fmla="*/ 0 h 220218"/>
                <a:gd name="connsiteX1" fmla="*/ 0 w 162686"/>
                <a:gd name="connsiteY1" fmla="*/ 0 h 220218"/>
                <a:gd name="connsiteX2" fmla="*/ 0 w 162686"/>
                <a:gd name="connsiteY2" fmla="*/ 220218 h 220218"/>
                <a:gd name="connsiteX3" fmla="*/ 59722 w 162686"/>
                <a:gd name="connsiteY3" fmla="*/ 220218 h 220218"/>
                <a:gd name="connsiteX4" fmla="*/ 162687 w 162686"/>
                <a:gd name="connsiteY4" fmla="*/ 109061 h 220218"/>
                <a:gd name="connsiteX5" fmla="*/ 57721 w 162686"/>
                <a:gd name="connsiteY5" fmla="*/ 0 h 220218"/>
                <a:gd name="connsiteX6" fmla="*/ 55054 w 162686"/>
                <a:gd name="connsiteY6" fmla="*/ 188595 h 220218"/>
                <a:gd name="connsiteX7" fmla="*/ 38195 w 162686"/>
                <a:gd name="connsiteY7" fmla="*/ 188595 h 220218"/>
                <a:gd name="connsiteX8" fmla="*/ 38195 w 162686"/>
                <a:gd name="connsiteY8" fmla="*/ 31718 h 220218"/>
                <a:gd name="connsiteX9" fmla="*/ 55054 w 162686"/>
                <a:gd name="connsiteY9" fmla="*/ 31718 h 220218"/>
                <a:gd name="connsiteX10" fmla="*/ 123349 w 162686"/>
                <a:gd name="connsiteY10" fmla="*/ 109157 h 220218"/>
                <a:gd name="connsiteX11" fmla="*/ 55054 w 162686"/>
                <a:gd name="connsiteY11" fmla="*/ 188595 h 220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2686" h="220218">
                  <a:moveTo>
                    <a:pt x="57721" y="0"/>
                  </a:moveTo>
                  <a:lnTo>
                    <a:pt x="0" y="0"/>
                  </a:lnTo>
                  <a:lnTo>
                    <a:pt x="0" y="220218"/>
                  </a:lnTo>
                  <a:lnTo>
                    <a:pt x="59722" y="220218"/>
                  </a:lnTo>
                  <a:cubicBezTo>
                    <a:pt x="123730" y="220218"/>
                    <a:pt x="162687" y="182118"/>
                    <a:pt x="162687" y="109061"/>
                  </a:cubicBezTo>
                  <a:cubicBezTo>
                    <a:pt x="162687" y="36386"/>
                    <a:pt x="123730" y="0"/>
                    <a:pt x="57721" y="0"/>
                  </a:cubicBezTo>
                  <a:close/>
                  <a:moveTo>
                    <a:pt x="55054" y="188595"/>
                  </a:moveTo>
                  <a:lnTo>
                    <a:pt x="38195" y="188595"/>
                  </a:lnTo>
                  <a:lnTo>
                    <a:pt x="38195" y="31718"/>
                  </a:lnTo>
                  <a:lnTo>
                    <a:pt x="55054" y="31718"/>
                  </a:lnTo>
                  <a:cubicBezTo>
                    <a:pt x="98584" y="31718"/>
                    <a:pt x="123349" y="55245"/>
                    <a:pt x="123349" y="109157"/>
                  </a:cubicBezTo>
                  <a:cubicBezTo>
                    <a:pt x="123444" y="163354"/>
                    <a:pt x="98679" y="188595"/>
                    <a:pt x="55054" y="18859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9" name="Vrije vorm: vorm 28">
              <a:extLst>
                <a:ext uri="{FF2B5EF4-FFF2-40B4-BE49-F238E27FC236}">
                  <a16:creationId xmlns:a16="http://schemas.microsoft.com/office/drawing/2014/main" id="{E155F0C8-52B1-4D2E-A918-9C4BD9EA42C2}"/>
                </a:ext>
              </a:extLst>
            </p:cNvPr>
            <p:cNvSpPr/>
            <p:nvPr/>
          </p:nvSpPr>
          <p:spPr>
            <a:xfrm>
              <a:off x="4967382" y="3315938"/>
              <a:ext cx="160782" cy="220218"/>
            </a:xfrm>
            <a:custGeom>
              <a:avLst/>
              <a:gdLst>
                <a:gd name="connsiteX0" fmla="*/ 152210 w 160782"/>
                <a:gd name="connsiteY0" fmla="*/ 65341 h 220218"/>
                <a:gd name="connsiteX1" fmla="*/ 72962 w 160782"/>
                <a:gd name="connsiteY1" fmla="*/ 0 h 220218"/>
                <a:gd name="connsiteX2" fmla="*/ 0 w 160782"/>
                <a:gd name="connsiteY2" fmla="*/ 0 h 220218"/>
                <a:gd name="connsiteX3" fmla="*/ 0 w 160782"/>
                <a:gd name="connsiteY3" fmla="*/ 220218 h 220218"/>
                <a:gd name="connsiteX4" fmla="*/ 38291 w 160782"/>
                <a:gd name="connsiteY4" fmla="*/ 220218 h 220218"/>
                <a:gd name="connsiteX5" fmla="*/ 38291 w 160782"/>
                <a:gd name="connsiteY5" fmla="*/ 134017 h 220218"/>
                <a:gd name="connsiteX6" fmla="*/ 71342 w 160782"/>
                <a:gd name="connsiteY6" fmla="*/ 134017 h 220218"/>
                <a:gd name="connsiteX7" fmla="*/ 117920 w 160782"/>
                <a:gd name="connsiteY7" fmla="*/ 220218 h 220218"/>
                <a:gd name="connsiteX8" fmla="*/ 160782 w 160782"/>
                <a:gd name="connsiteY8" fmla="*/ 220218 h 220218"/>
                <a:gd name="connsiteX9" fmla="*/ 109252 w 160782"/>
                <a:gd name="connsiteY9" fmla="*/ 128302 h 220218"/>
                <a:gd name="connsiteX10" fmla="*/ 152210 w 160782"/>
                <a:gd name="connsiteY10" fmla="*/ 65341 h 220218"/>
                <a:gd name="connsiteX11" fmla="*/ 68961 w 160782"/>
                <a:gd name="connsiteY11" fmla="*/ 103061 h 220218"/>
                <a:gd name="connsiteX12" fmla="*/ 38291 w 160782"/>
                <a:gd name="connsiteY12" fmla="*/ 103061 h 220218"/>
                <a:gd name="connsiteX13" fmla="*/ 38291 w 160782"/>
                <a:gd name="connsiteY13" fmla="*/ 31337 h 220218"/>
                <a:gd name="connsiteX14" fmla="*/ 68961 w 160782"/>
                <a:gd name="connsiteY14" fmla="*/ 31337 h 220218"/>
                <a:gd name="connsiteX15" fmla="*/ 114491 w 160782"/>
                <a:gd name="connsiteY15" fmla="*/ 65341 h 220218"/>
                <a:gd name="connsiteX16" fmla="*/ 68961 w 160782"/>
                <a:gd name="connsiteY16" fmla="*/ 103061 h 220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60782" h="220218">
                  <a:moveTo>
                    <a:pt x="152210" y="65341"/>
                  </a:moveTo>
                  <a:cubicBezTo>
                    <a:pt x="152210" y="16193"/>
                    <a:pt x="117920" y="0"/>
                    <a:pt x="72962" y="0"/>
                  </a:cubicBezTo>
                  <a:lnTo>
                    <a:pt x="0" y="0"/>
                  </a:lnTo>
                  <a:lnTo>
                    <a:pt x="0" y="220218"/>
                  </a:lnTo>
                  <a:lnTo>
                    <a:pt x="38291" y="220218"/>
                  </a:lnTo>
                  <a:lnTo>
                    <a:pt x="38291" y="134017"/>
                  </a:lnTo>
                  <a:lnTo>
                    <a:pt x="71342" y="134017"/>
                  </a:lnTo>
                  <a:lnTo>
                    <a:pt x="117920" y="220218"/>
                  </a:lnTo>
                  <a:lnTo>
                    <a:pt x="160782" y="220218"/>
                  </a:lnTo>
                  <a:lnTo>
                    <a:pt x="109252" y="128302"/>
                  </a:lnTo>
                  <a:cubicBezTo>
                    <a:pt x="134969" y="119253"/>
                    <a:pt x="152210" y="99060"/>
                    <a:pt x="152210" y="65341"/>
                  </a:cubicBezTo>
                  <a:close/>
                  <a:moveTo>
                    <a:pt x="68961" y="103061"/>
                  </a:moveTo>
                  <a:lnTo>
                    <a:pt x="38291" y="103061"/>
                  </a:lnTo>
                  <a:lnTo>
                    <a:pt x="38291" y="31337"/>
                  </a:lnTo>
                  <a:lnTo>
                    <a:pt x="68961" y="31337"/>
                  </a:lnTo>
                  <a:cubicBezTo>
                    <a:pt x="98298" y="31337"/>
                    <a:pt x="114491" y="40100"/>
                    <a:pt x="114491" y="65341"/>
                  </a:cubicBezTo>
                  <a:cubicBezTo>
                    <a:pt x="114586" y="90297"/>
                    <a:pt x="98393" y="103061"/>
                    <a:pt x="68961" y="1030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Vrije vorm: vorm 29">
              <a:extLst>
                <a:ext uri="{FF2B5EF4-FFF2-40B4-BE49-F238E27FC236}">
                  <a16:creationId xmlns:a16="http://schemas.microsoft.com/office/drawing/2014/main" id="{72720B00-2E5F-450E-BB7D-B940912140AC}"/>
                </a:ext>
              </a:extLst>
            </p:cNvPr>
            <p:cNvSpPr/>
            <p:nvPr/>
          </p:nvSpPr>
          <p:spPr>
            <a:xfrm>
              <a:off x="5194553" y="3315938"/>
              <a:ext cx="163068" cy="220313"/>
            </a:xfrm>
            <a:custGeom>
              <a:avLst/>
              <a:gdLst>
                <a:gd name="connsiteX0" fmla="*/ 0 w 163068"/>
                <a:gd name="connsiteY0" fmla="*/ 33052 h 220313"/>
                <a:gd name="connsiteX1" fmla="*/ 62389 w 163068"/>
                <a:gd name="connsiteY1" fmla="*/ 33052 h 220313"/>
                <a:gd name="connsiteX2" fmla="*/ 62389 w 163068"/>
                <a:gd name="connsiteY2" fmla="*/ 220313 h 220313"/>
                <a:gd name="connsiteX3" fmla="*/ 100679 w 163068"/>
                <a:gd name="connsiteY3" fmla="*/ 220313 h 220313"/>
                <a:gd name="connsiteX4" fmla="*/ 100679 w 163068"/>
                <a:gd name="connsiteY4" fmla="*/ 33052 h 220313"/>
                <a:gd name="connsiteX5" fmla="*/ 163068 w 163068"/>
                <a:gd name="connsiteY5" fmla="*/ 33052 h 220313"/>
                <a:gd name="connsiteX6" fmla="*/ 163068 w 163068"/>
                <a:gd name="connsiteY6" fmla="*/ 0 h 220313"/>
                <a:gd name="connsiteX7" fmla="*/ 0 w 163068"/>
                <a:gd name="connsiteY7" fmla="*/ 0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068" h="220313">
                  <a:moveTo>
                    <a:pt x="0" y="33052"/>
                  </a:moveTo>
                  <a:lnTo>
                    <a:pt x="62389" y="33052"/>
                  </a:lnTo>
                  <a:lnTo>
                    <a:pt x="62389" y="220313"/>
                  </a:lnTo>
                  <a:lnTo>
                    <a:pt x="100679" y="220313"/>
                  </a:lnTo>
                  <a:lnTo>
                    <a:pt x="100679" y="33052"/>
                  </a:lnTo>
                  <a:lnTo>
                    <a:pt x="163068" y="33052"/>
                  </a:lnTo>
                  <a:lnTo>
                    <a:pt x="16306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Vrije vorm: vorm 30">
              <a:extLst>
                <a:ext uri="{FF2B5EF4-FFF2-40B4-BE49-F238E27FC236}">
                  <a16:creationId xmlns:a16="http://schemas.microsoft.com/office/drawing/2014/main" id="{7E7FFBEF-735C-4687-8F8F-151BEAEDABEE}"/>
                </a:ext>
              </a:extLst>
            </p:cNvPr>
            <p:cNvSpPr/>
            <p:nvPr/>
          </p:nvSpPr>
          <p:spPr>
            <a:xfrm>
              <a:off x="5396864" y="3315938"/>
              <a:ext cx="164020" cy="220313"/>
            </a:xfrm>
            <a:custGeom>
              <a:avLst/>
              <a:gdLst>
                <a:gd name="connsiteX0" fmla="*/ 125730 w 164020"/>
                <a:gd name="connsiteY0" fmla="*/ 88583 h 220313"/>
                <a:gd name="connsiteX1" fmla="*/ 38291 w 164020"/>
                <a:gd name="connsiteY1" fmla="*/ 88583 h 220313"/>
                <a:gd name="connsiteX2" fmla="*/ 38291 w 164020"/>
                <a:gd name="connsiteY2" fmla="*/ 0 h 220313"/>
                <a:gd name="connsiteX3" fmla="*/ 0 w 164020"/>
                <a:gd name="connsiteY3" fmla="*/ 0 h 220313"/>
                <a:gd name="connsiteX4" fmla="*/ 0 w 164020"/>
                <a:gd name="connsiteY4" fmla="*/ 220313 h 220313"/>
                <a:gd name="connsiteX5" fmla="*/ 38291 w 164020"/>
                <a:gd name="connsiteY5" fmla="*/ 220313 h 220313"/>
                <a:gd name="connsiteX6" fmla="*/ 38291 w 164020"/>
                <a:gd name="connsiteY6" fmla="*/ 122587 h 220313"/>
                <a:gd name="connsiteX7" fmla="*/ 125730 w 164020"/>
                <a:gd name="connsiteY7" fmla="*/ 122587 h 220313"/>
                <a:gd name="connsiteX8" fmla="*/ 125730 w 164020"/>
                <a:gd name="connsiteY8" fmla="*/ 220313 h 220313"/>
                <a:gd name="connsiteX9" fmla="*/ 164021 w 164020"/>
                <a:gd name="connsiteY9" fmla="*/ 220313 h 220313"/>
                <a:gd name="connsiteX10" fmla="*/ 164021 w 164020"/>
                <a:gd name="connsiteY10" fmla="*/ 0 h 220313"/>
                <a:gd name="connsiteX11" fmla="*/ 125730 w 164020"/>
                <a:gd name="connsiteY11" fmla="*/ 0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4020" h="220313">
                  <a:moveTo>
                    <a:pt x="125730" y="88583"/>
                  </a:moveTo>
                  <a:lnTo>
                    <a:pt x="38291" y="88583"/>
                  </a:lnTo>
                  <a:lnTo>
                    <a:pt x="38291" y="0"/>
                  </a:lnTo>
                  <a:lnTo>
                    <a:pt x="0" y="0"/>
                  </a:lnTo>
                  <a:lnTo>
                    <a:pt x="0" y="220313"/>
                  </a:lnTo>
                  <a:lnTo>
                    <a:pt x="38291" y="220313"/>
                  </a:lnTo>
                  <a:lnTo>
                    <a:pt x="38291" y="122587"/>
                  </a:lnTo>
                  <a:lnTo>
                    <a:pt x="125730" y="122587"/>
                  </a:lnTo>
                  <a:lnTo>
                    <a:pt x="125730" y="220313"/>
                  </a:lnTo>
                  <a:lnTo>
                    <a:pt x="164021" y="220313"/>
                  </a:lnTo>
                  <a:lnTo>
                    <a:pt x="164021" y="0"/>
                  </a:lnTo>
                  <a:lnTo>
                    <a:pt x="12573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2" name="Vrije vorm: vorm 31">
              <a:extLst>
                <a:ext uri="{FF2B5EF4-FFF2-40B4-BE49-F238E27FC236}">
                  <a16:creationId xmlns:a16="http://schemas.microsoft.com/office/drawing/2014/main" id="{F65EFD60-A074-4368-80C7-05C0E89E4AF1}"/>
                </a:ext>
              </a:extLst>
            </p:cNvPr>
            <p:cNvSpPr/>
            <p:nvPr/>
          </p:nvSpPr>
          <p:spPr>
            <a:xfrm>
              <a:off x="5619082" y="3315938"/>
              <a:ext cx="133350" cy="220313"/>
            </a:xfrm>
            <a:custGeom>
              <a:avLst/>
              <a:gdLst>
                <a:gd name="connsiteX0" fmla="*/ 38290 w 133350"/>
                <a:gd name="connsiteY0" fmla="*/ 122301 h 220313"/>
                <a:gd name="connsiteX1" fmla="*/ 115824 w 133350"/>
                <a:gd name="connsiteY1" fmla="*/ 122301 h 220313"/>
                <a:gd name="connsiteX2" fmla="*/ 115824 w 133350"/>
                <a:gd name="connsiteY2" fmla="*/ 89249 h 220313"/>
                <a:gd name="connsiteX3" fmla="*/ 38290 w 133350"/>
                <a:gd name="connsiteY3" fmla="*/ 89249 h 220313"/>
                <a:gd name="connsiteX4" fmla="*/ 38290 w 133350"/>
                <a:gd name="connsiteY4" fmla="*/ 33052 h 220313"/>
                <a:gd name="connsiteX5" fmla="*/ 130016 w 133350"/>
                <a:gd name="connsiteY5" fmla="*/ 33052 h 220313"/>
                <a:gd name="connsiteX6" fmla="*/ 130016 w 133350"/>
                <a:gd name="connsiteY6" fmla="*/ 0 h 220313"/>
                <a:gd name="connsiteX7" fmla="*/ 0 w 133350"/>
                <a:gd name="connsiteY7" fmla="*/ 0 h 220313"/>
                <a:gd name="connsiteX8" fmla="*/ 0 w 133350"/>
                <a:gd name="connsiteY8" fmla="*/ 220313 h 220313"/>
                <a:gd name="connsiteX9" fmla="*/ 133350 w 133350"/>
                <a:gd name="connsiteY9" fmla="*/ 220313 h 220313"/>
                <a:gd name="connsiteX10" fmla="*/ 133350 w 133350"/>
                <a:gd name="connsiteY10" fmla="*/ 187262 h 220313"/>
                <a:gd name="connsiteX11" fmla="*/ 38290 w 133350"/>
                <a:gd name="connsiteY11" fmla="*/ 187262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3350" h="220313">
                  <a:moveTo>
                    <a:pt x="38290" y="122301"/>
                  </a:moveTo>
                  <a:lnTo>
                    <a:pt x="115824" y="122301"/>
                  </a:lnTo>
                  <a:lnTo>
                    <a:pt x="115824" y="89249"/>
                  </a:lnTo>
                  <a:lnTo>
                    <a:pt x="38290" y="89249"/>
                  </a:lnTo>
                  <a:lnTo>
                    <a:pt x="38290" y="33052"/>
                  </a:lnTo>
                  <a:lnTo>
                    <a:pt x="130016" y="33052"/>
                  </a:lnTo>
                  <a:lnTo>
                    <a:pt x="130016" y="0"/>
                  </a:lnTo>
                  <a:lnTo>
                    <a:pt x="0" y="0"/>
                  </a:lnTo>
                  <a:lnTo>
                    <a:pt x="0" y="220313"/>
                  </a:lnTo>
                  <a:lnTo>
                    <a:pt x="133350" y="220313"/>
                  </a:lnTo>
                  <a:lnTo>
                    <a:pt x="133350" y="187262"/>
                  </a:lnTo>
                  <a:lnTo>
                    <a:pt x="38290" y="1872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3" name="Vrije vorm: vorm 32">
              <a:extLst>
                <a:ext uri="{FF2B5EF4-FFF2-40B4-BE49-F238E27FC236}">
                  <a16:creationId xmlns:a16="http://schemas.microsoft.com/office/drawing/2014/main" id="{B57A2AC3-E959-4C86-8C52-9D73D84C816D}"/>
                </a:ext>
              </a:extLst>
            </p:cNvPr>
            <p:cNvSpPr/>
            <p:nvPr/>
          </p:nvSpPr>
          <p:spPr>
            <a:xfrm>
              <a:off x="5799581" y="3315938"/>
              <a:ext cx="160781" cy="220218"/>
            </a:xfrm>
            <a:custGeom>
              <a:avLst/>
              <a:gdLst>
                <a:gd name="connsiteX0" fmla="*/ 152209 w 160781"/>
                <a:gd name="connsiteY0" fmla="*/ 65341 h 220218"/>
                <a:gd name="connsiteX1" fmla="*/ 72961 w 160781"/>
                <a:gd name="connsiteY1" fmla="*/ 0 h 220218"/>
                <a:gd name="connsiteX2" fmla="*/ 0 w 160781"/>
                <a:gd name="connsiteY2" fmla="*/ 0 h 220218"/>
                <a:gd name="connsiteX3" fmla="*/ 0 w 160781"/>
                <a:gd name="connsiteY3" fmla="*/ 220218 h 220218"/>
                <a:gd name="connsiteX4" fmla="*/ 38290 w 160781"/>
                <a:gd name="connsiteY4" fmla="*/ 220218 h 220218"/>
                <a:gd name="connsiteX5" fmla="*/ 38290 w 160781"/>
                <a:gd name="connsiteY5" fmla="*/ 134017 h 220218"/>
                <a:gd name="connsiteX6" fmla="*/ 71342 w 160781"/>
                <a:gd name="connsiteY6" fmla="*/ 134017 h 220218"/>
                <a:gd name="connsiteX7" fmla="*/ 117919 w 160781"/>
                <a:gd name="connsiteY7" fmla="*/ 220218 h 220218"/>
                <a:gd name="connsiteX8" fmla="*/ 160782 w 160781"/>
                <a:gd name="connsiteY8" fmla="*/ 220218 h 220218"/>
                <a:gd name="connsiteX9" fmla="*/ 109252 w 160781"/>
                <a:gd name="connsiteY9" fmla="*/ 128302 h 220218"/>
                <a:gd name="connsiteX10" fmla="*/ 152209 w 160781"/>
                <a:gd name="connsiteY10" fmla="*/ 65341 h 220218"/>
                <a:gd name="connsiteX11" fmla="*/ 69056 w 160781"/>
                <a:gd name="connsiteY11" fmla="*/ 103061 h 220218"/>
                <a:gd name="connsiteX12" fmla="*/ 38386 w 160781"/>
                <a:gd name="connsiteY12" fmla="*/ 103061 h 220218"/>
                <a:gd name="connsiteX13" fmla="*/ 38386 w 160781"/>
                <a:gd name="connsiteY13" fmla="*/ 31337 h 220218"/>
                <a:gd name="connsiteX14" fmla="*/ 69056 w 160781"/>
                <a:gd name="connsiteY14" fmla="*/ 31337 h 220218"/>
                <a:gd name="connsiteX15" fmla="*/ 114586 w 160781"/>
                <a:gd name="connsiteY15" fmla="*/ 65341 h 220218"/>
                <a:gd name="connsiteX16" fmla="*/ 69056 w 160781"/>
                <a:gd name="connsiteY16" fmla="*/ 103061 h 220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60781" h="220218">
                  <a:moveTo>
                    <a:pt x="152209" y="65341"/>
                  </a:moveTo>
                  <a:cubicBezTo>
                    <a:pt x="152209" y="16193"/>
                    <a:pt x="117919" y="0"/>
                    <a:pt x="72961" y="0"/>
                  </a:cubicBezTo>
                  <a:lnTo>
                    <a:pt x="0" y="0"/>
                  </a:lnTo>
                  <a:lnTo>
                    <a:pt x="0" y="220218"/>
                  </a:lnTo>
                  <a:lnTo>
                    <a:pt x="38290" y="220218"/>
                  </a:lnTo>
                  <a:lnTo>
                    <a:pt x="38290" y="134017"/>
                  </a:lnTo>
                  <a:lnTo>
                    <a:pt x="71342" y="134017"/>
                  </a:lnTo>
                  <a:lnTo>
                    <a:pt x="117919" y="220218"/>
                  </a:lnTo>
                  <a:lnTo>
                    <a:pt x="160782" y="220218"/>
                  </a:lnTo>
                  <a:lnTo>
                    <a:pt x="109252" y="128302"/>
                  </a:lnTo>
                  <a:cubicBezTo>
                    <a:pt x="135064" y="119253"/>
                    <a:pt x="152209" y="99060"/>
                    <a:pt x="152209" y="65341"/>
                  </a:cubicBezTo>
                  <a:close/>
                  <a:moveTo>
                    <a:pt x="69056" y="103061"/>
                  </a:moveTo>
                  <a:lnTo>
                    <a:pt x="38386" y="103061"/>
                  </a:lnTo>
                  <a:lnTo>
                    <a:pt x="38386" y="31337"/>
                  </a:lnTo>
                  <a:lnTo>
                    <a:pt x="69056" y="31337"/>
                  </a:lnTo>
                  <a:cubicBezTo>
                    <a:pt x="98393" y="31337"/>
                    <a:pt x="114586" y="40100"/>
                    <a:pt x="114586" y="65341"/>
                  </a:cubicBezTo>
                  <a:cubicBezTo>
                    <a:pt x="114586" y="90297"/>
                    <a:pt x="98393" y="103061"/>
                    <a:pt x="69056" y="1030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4" name="Vrije vorm: vorm 33">
              <a:extLst>
                <a:ext uri="{FF2B5EF4-FFF2-40B4-BE49-F238E27FC236}">
                  <a16:creationId xmlns:a16="http://schemas.microsoft.com/office/drawing/2014/main" id="{F2587848-ED48-400E-96CF-86702EEE7B78}"/>
                </a:ext>
              </a:extLst>
            </p:cNvPr>
            <p:cNvSpPr/>
            <p:nvPr/>
          </p:nvSpPr>
          <p:spPr>
            <a:xfrm>
              <a:off x="5998273" y="3315938"/>
              <a:ext cx="191166" cy="220313"/>
            </a:xfrm>
            <a:custGeom>
              <a:avLst/>
              <a:gdLst>
                <a:gd name="connsiteX0" fmla="*/ 110300 w 191166"/>
                <a:gd name="connsiteY0" fmla="*/ 107823 h 220313"/>
                <a:gd name="connsiteX1" fmla="*/ 96774 w 191166"/>
                <a:gd name="connsiteY1" fmla="*/ 150971 h 220313"/>
                <a:gd name="connsiteX2" fmla="*/ 95440 w 191166"/>
                <a:gd name="connsiteY2" fmla="*/ 150971 h 220313"/>
                <a:gd name="connsiteX3" fmla="*/ 81534 w 191166"/>
                <a:gd name="connsiteY3" fmla="*/ 107823 h 220313"/>
                <a:gd name="connsiteX4" fmla="*/ 43243 w 191166"/>
                <a:gd name="connsiteY4" fmla="*/ 95 h 220313"/>
                <a:gd name="connsiteX5" fmla="*/ 0 w 191166"/>
                <a:gd name="connsiteY5" fmla="*/ 95 h 220313"/>
                <a:gd name="connsiteX6" fmla="*/ 0 w 191166"/>
                <a:gd name="connsiteY6" fmla="*/ 220313 h 220313"/>
                <a:gd name="connsiteX7" fmla="*/ 34671 w 191166"/>
                <a:gd name="connsiteY7" fmla="*/ 220313 h 220313"/>
                <a:gd name="connsiteX8" fmla="*/ 34671 w 191166"/>
                <a:gd name="connsiteY8" fmla="*/ 119634 h 220313"/>
                <a:gd name="connsiteX9" fmla="*/ 29718 w 191166"/>
                <a:gd name="connsiteY9" fmla="*/ 49625 h 220313"/>
                <a:gd name="connsiteX10" fmla="*/ 31051 w 191166"/>
                <a:gd name="connsiteY10" fmla="*/ 49625 h 220313"/>
                <a:gd name="connsiteX11" fmla="*/ 48196 w 191166"/>
                <a:gd name="connsiteY11" fmla="*/ 100775 h 220313"/>
                <a:gd name="connsiteX12" fmla="*/ 83820 w 191166"/>
                <a:gd name="connsiteY12" fmla="*/ 199739 h 220313"/>
                <a:gd name="connsiteX13" fmla="*/ 106585 w 191166"/>
                <a:gd name="connsiteY13" fmla="*/ 199739 h 220313"/>
                <a:gd name="connsiteX14" fmla="*/ 141922 w 191166"/>
                <a:gd name="connsiteY14" fmla="*/ 100775 h 220313"/>
                <a:gd name="connsiteX15" fmla="*/ 159448 w 191166"/>
                <a:gd name="connsiteY15" fmla="*/ 49625 h 220313"/>
                <a:gd name="connsiteX16" fmla="*/ 160782 w 191166"/>
                <a:gd name="connsiteY16" fmla="*/ 49625 h 220313"/>
                <a:gd name="connsiteX17" fmla="*/ 155829 w 191166"/>
                <a:gd name="connsiteY17" fmla="*/ 119634 h 220313"/>
                <a:gd name="connsiteX18" fmla="*/ 155829 w 191166"/>
                <a:gd name="connsiteY18" fmla="*/ 220313 h 220313"/>
                <a:gd name="connsiteX19" fmla="*/ 191167 w 191166"/>
                <a:gd name="connsiteY19" fmla="*/ 220313 h 220313"/>
                <a:gd name="connsiteX20" fmla="*/ 191167 w 191166"/>
                <a:gd name="connsiteY20" fmla="*/ 0 h 220313"/>
                <a:gd name="connsiteX21" fmla="*/ 147638 w 191166"/>
                <a:gd name="connsiteY21" fmla="*/ 0 h 220313"/>
                <a:gd name="connsiteX22" fmla="*/ 110300 w 191166"/>
                <a:gd name="connsiteY22" fmla="*/ 107823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1166" h="220313">
                  <a:moveTo>
                    <a:pt x="110300" y="107823"/>
                  </a:moveTo>
                  <a:cubicBezTo>
                    <a:pt x="105632" y="121634"/>
                    <a:pt x="101346" y="136493"/>
                    <a:pt x="96774" y="150971"/>
                  </a:cubicBezTo>
                  <a:lnTo>
                    <a:pt x="95440" y="150971"/>
                  </a:lnTo>
                  <a:cubicBezTo>
                    <a:pt x="90868" y="136493"/>
                    <a:pt x="86201" y="121634"/>
                    <a:pt x="81534" y="107823"/>
                  </a:cubicBezTo>
                  <a:lnTo>
                    <a:pt x="43243" y="95"/>
                  </a:lnTo>
                  <a:lnTo>
                    <a:pt x="0" y="95"/>
                  </a:lnTo>
                  <a:lnTo>
                    <a:pt x="0" y="220313"/>
                  </a:lnTo>
                  <a:lnTo>
                    <a:pt x="34671" y="220313"/>
                  </a:lnTo>
                  <a:lnTo>
                    <a:pt x="34671" y="119634"/>
                  </a:lnTo>
                  <a:cubicBezTo>
                    <a:pt x="34671" y="99060"/>
                    <a:pt x="31337" y="69818"/>
                    <a:pt x="29718" y="49625"/>
                  </a:cubicBezTo>
                  <a:lnTo>
                    <a:pt x="31051" y="49625"/>
                  </a:lnTo>
                  <a:lnTo>
                    <a:pt x="48196" y="100775"/>
                  </a:lnTo>
                  <a:lnTo>
                    <a:pt x="83820" y="199739"/>
                  </a:lnTo>
                  <a:lnTo>
                    <a:pt x="106585" y="199739"/>
                  </a:lnTo>
                  <a:lnTo>
                    <a:pt x="141922" y="100775"/>
                  </a:lnTo>
                  <a:lnTo>
                    <a:pt x="159448" y="49625"/>
                  </a:lnTo>
                  <a:lnTo>
                    <a:pt x="160782" y="49625"/>
                  </a:lnTo>
                  <a:cubicBezTo>
                    <a:pt x="158782" y="69818"/>
                    <a:pt x="155829" y="99155"/>
                    <a:pt x="155829" y="119634"/>
                  </a:cubicBezTo>
                  <a:lnTo>
                    <a:pt x="155829" y="220313"/>
                  </a:lnTo>
                  <a:lnTo>
                    <a:pt x="191167" y="220313"/>
                  </a:lnTo>
                  <a:lnTo>
                    <a:pt x="191167" y="0"/>
                  </a:lnTo>
                  <a:lnTo>
                    <a:pt x="147638" y="0"/>
                  </a:lnTo>
                  <a:lnTo>
                    <a:pt x="110300" y="1078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5" name="Vrije vorm: vorm 34">
              <a:extLst>
                <a:ext uri="{FF2B5EF4-FFF2-40B4-BE49-F238E27FC236}">
                  <a16:creationId xmlns:a16="http://schemas.microsoft.com/office/drawing/2014/main" id="{9A4DF858-B31C-43A7-86FD-7EAA36CBA7DD}"/>
                </a:ext>
              </a:extLst>
            </p:cNvPr>
            <p:cNvSpPr/>
            <p:nvPr/>
          </p:nvSpPr>
          <p:spPr>
            <a:xfrm>
              <a:off x="6247256" y="3315938"/>
              <a:ext cx="133350" cy="220313"/>
            </a:xfrm>
            <a:custGeom>
              <a:avLst/>
              <a:gdLst>
                <a:gd name="connsiteX0" fmla="*/ 38290 w 133350"/>
                <a:gd name="connsiteY0" fmla="*/ 122301 h 220313"/>
                <a:gd name="connsiteX1" fmla="*/ 115824 w 133350"/>
                <a:gd name="connsiteY1" fmla="*/ 122301 h 220313"/>
                <a:gd name="connsiteX2" fmla="*/ 115824 w 133350"/>
                <a:gd name="connsiteY2" fmla="*/ 89249 h 220313"/>
                <a:gd name="connsiteX3" fmla="*/ 38290 w 133350"/>
                <a:gd name="connsiteY3" fmla="*/ 89249 h 220313"/>
                <a:gd name="connsiteX4" fmla="*/ 38290 w 133350"/>
                <a:gd name="connsiteY4" fmla="*/ 33052 h 220313"/>
                <a:gd name="connsiteX5" fmla="*/ 130111 w 133350"/>
                <a:gd name="connsiteY5" fmla="*/ 33052 h 220313"/>
                <a:gd name="connsiteX6" fmla="*/ 130111 w 133350"/>
                <a:gd name="connsiteY6" fmla="*/ 0 h 220313"/>
                <a:gd name="connsiteX7" fmla="*/ 0 w 133350"/>
                <a:gd name="connsiteY7" fmla="*/ 0 h 220313"/>
                <a:gd name="connsiteX8" fmla="*/ 0 w 133350"/>
                <a:gd name="connsiteY8" fmla="*/ 220313 h 220313"/>
                <a:gd name="connsiteX9" fmla="*/ 133350 w 133350"/>
                <a:gd name="connsiteY9" fmla="*/ 220313 h 220313"/>
                <a:gd name="connsiteX10" fmla="*/ 133350 w 133350"/>
                <a:gd name="connsiteY10" fmla="*/ 187262 h 220313"/>
                <a:gd name="connsiteX11" fmla="*/ 38290 w 133350"/>
                <a:gd name="connsiteY11" fmla="*/ 187262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3350" h="220313">
                  <a:moveTo>
                    <a:pt x="38290" y="122301"/>
                  </a:moveTo>
                  <a:lnTo>
                    <a:pt x="115824" y="122301"/>
                  </a:lnTo>
                  <a:lnTo>
                    <a:pt x="115824" y="89249"/>
                  </a:lnTo>
                  <a:lnTo>
                    <a:pt x="38290" y="89249"/>
                  </a:lnTo>
                  <a:lnTo>
                    <a:pt x="38290" y="33052"/>
                  </a:lnTo>
                  <a:lnTo>
                    <a:pt x="130111" y="33052"/>
                  </a:lnTo>
                  <a:lnTo>
                    <a:pt x="130111" y="0"/>
                  </a:lnTo>
                  <a:lnTo>
                    <a:pt x="0" y="0"/>
                  </a:lnTo>
                  <a:lnTo>
                    <a:pt x="0" y="220313"/>
                  </a:lnTo>
                  <a:lnTo>
                    <a:pt x="133350" y="220313"/>
                  </a:lnTo>
                  <a:lnTo>
                    <a:pt x="133350" y="187262"/>
                  </a:lnTo>
                  <a:lnTo>
                    <a:pt x="38290" y="1872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6" name="Vrije vorm: vorm 35">
              <a:extLst>
                <a:ext uri="{FF2B5EF4-FFF2-40B4-BE49-F238E27FC236}">
                  <a16:creationId xmlns:a16="http://schemas.microsoft.com/office/drawing/2014/main" id="{48DA14AA-3F31-44AA-9B87-D70152043D6D}"/>
                </a:ext>
              </a:extLst>
            </p:cNvPr>
            <p:cNvSpPr/>
            <p:nvPr/>
          </p:nvSpPr>
          <p:spPr>
            <a:xfrm>
              <a:off x="6403085" y="3315938"/>
              <a:ext cx="185546" cy="220313"/>
            </a:xfrm>
            <a:custGeom>
              <a:avLst/>
              <a:gdLst>
                <a:gd name="connsiteX0" fmla="*/ 70294 w 185546"/>
                <a:gd name="connsiteY0" fmla="*/ 0 h 220313"/>
                <a:gd name="connsiteX1" fmla="*/ 0 w 185546"/>
                <a:gd name="connsiteY1" fmla="*/ 220218 h 220313"/>
                <a:gd name="connsiteX2" fmla="*/ 38957 w 185546"/>
                <a:gd name="connsiteY2" fmla="*/ 220218 h 220313"/>
                <a:gd name="connsiteX3" fmla="*/ 55817 w 185546"/>
                <a:gd name="connsiteY3" fmla="*/ 160687 h 220313"/>
                <a:gd name="connsiteX4" fmla="*/ 128397 w 185546"/>
                <a:gd name="connsiteY4" fmla="*/ 160687 h 220313"/>
                <a:gd name="connsiteX5" fmla="*/ 145256 w 185546"/>
                <a:gd name="connsiteY5" fmla="*/ 220313 h 220313"/>
                <a:gd name="connsiteX6" fmla="*/ 185547 w 185546"/>
                <a:gd name="connsiteY6" fmla="*/ 220313 h 220313"/>
                <a:gd name="connsiteX7" fmla="*/ 115252 w 185546"/>
                <a:gd name="connsiteY7" fmla="*/ 95 h 220313"/>
                <a:gd name="connsiteX8" fmla="*/ 70294 w 185546"/>
                <a:gd name="connsiteY8" fmla="*/ 95 h 220313"/>
                <a:gd name="connsiteX9" fmla="*/ 64675 w 185546"/>
                <a:gd name="connsiteY9" fmla="*/ 130016 h 220313"/>
                <a:gd name="connsiteX10" fmla="*/ 72295 w 185546"/>
                <a:gd name="connsiteY10" fmla="*/ 103061 h 220313"/>
                <a:gd name="connsiteX11" fmla="*/ 91440 w 185546"/>
                <a:gd name="connsiteY11" fmla="*/ 30290 h 220313"/>
                <a:gd name="connsiteX12" fmla="*/ 92773 w 185546"/>
                <a:gd name="connsiteY12" fmla="*/ 30290 h 220313"/>
                <a:gd name="connsiteX13" fmla="*/ 112204 w 185546"/>
                <a:gd name="connsiteY13" fmla="*/ 103061 h 220313"/>
                <a:gd name="connsiteX14" fmla="*/ 119825 w 185546"/>
                <a:gd name="connsiteY14" fmla="*/ 130016 h 220313"/>
                <a:gd name="connsiteX15" fmla="*/ 64675 w 185546"/>
                <a:gd name="connsiteY15" fmla="*/ 130016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5546" h="220313">
                  <a:moveTo>
                    <a:pt x="70294" y="0"/>
                  </a:moveTo>
                  <a:lnTo>
                    <a:pt x="0" y="220218"/>
                  </a:lnTo>
                  <a:lnTo>
                    <a:pt x="38957" y="220218"/>
                  </a:lnTo>
                  <a:lnTo>
                    <a:pt x="55817" y="160687"/>
                  </a:lnTo>
                  <a:lnTo>
                    <a:pt x="128397" y="160687"/>
                  </a:lnTo>
                  <a:lnTo>
                    <a:pt x="145256" y="220313"/>
                  </a:lnTo>
                  <a:lnTo>
                    <a:pt x="185547" y="220313"/>
                  </a:lnTo>
                  <a:lnTo>
                    <a:pt x="115252" y="95"/>
                  </a:lnTo>
                  <a:lnTo>
                    <a:pt x="70294" y="95"/>
                  </a:lnTo>
                  <a:close/>
                  <a:moveTo>
                    <a:pt x="64675" y="130016"/>
                  </a:moveTo>
                  <a:lnTo>
                    <a:pt x="72295" y="103061"/>
                  </a:lnTo>
                  <a:cubicBezTo>
                    <a:pt x="79248" y="79820"/>
                    <a:pt x="85534" y="54864"/>
                    <a:pt x="91440" y="30290"/>
                  </a:cubicBezTo>
                  <a:lnTo>
                    <a:pt x="92773" y="30290"/>
                  </a:lnTo>
                  <a:cubicBezTo>
                    <a:pt x="99060" y="54578"/>
                    <a:pt x="105346" y="79820"/>
                    <a:pt x="112204" y="103061"/>
                  </a:cubicBezTo>
                  <a:lnTo>
                    <a:pt x="119825" y="130016"/>
                  </a:lnTo>
                  <a:lnTo>
                    <a:pt x="64675" y="1300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7" name="Vrije vorm: vorm 36">
              <a:extLst>
                <a:ext uri="{FF2B5EF4-FFF2-40B4-BE49-F238E27FC236}">
                  <a16:creationId xmlns:a16="http://schemas.microsoft.com/office/drawing/2014/main" id="{43DBF6CC-CA7D-4ACD-A342-7537DFB32A39}"/>
                </a:ext>
              </a:extLst>
            </p:cNvPr>
            <p:cNvSpPr/>
            <p:nvPr/>
          </p:nvSpPr>
          <p:spPr>
            <a:xfrm>
              <a:off x="6668261" y="3314700"/>
              <a:ext cx="157733" cy="225456"/>
            </a:xfrm>
            <a:custGeom>
              <a:avLst/>
              <a:gdLst>
                <a:gd name="connsiteX0" fmla="*/ 91059 w 157733"/>
                <a:gd name="connsiteY0" fmla="*/ 127445 h 225456"/>
                <a:gd name="connsiteX1" fmla="*/ 143256 w 157733"/>
                <a:gd name="connsiteY1" fmla="*/ 127445 h 225456"/>
                <a:gd name="connsiteX2" fmla="*/ 143256 w 157733"/>
                <a:gd name="connsiteY2" fmla="*/ 195167 h 225456"/>
                <a:gd name="connsiteX3" fmla="*/ 122301 w 157733"/>
                <a:gd name="connsiteY3" fmla="*/ 207359 h 225456"/>
                <a:gd name="connsiteX4" fmla="*/ 94393 w 157733"/>
                <a:gd name="connsiteY4" fmla="*/ 211646 h 225456"/>
                <a:gd name="connsiteX5" fmla="*/ 61246 w 157733"/>
                <a:gd name="connsiteY5" fmla="*/ 204502 h 225456"/>
                <a:gd name="connsiteX6" fmla="*/ 36481 w 157733"/>
                <a:gd name="connsiteY6" fmla="*/ 184499 h 225456"/>
                <a:gd name="connsiteX7" fmla="*/ 21146 w 157733"/>
                <a:gd name="connsiteY7" fmla="*/ 153257 h 225456"/>
                <a:gd name="connsiteX8" fmla="*/ 15907 w 157733"/>
                <a:gd name="connsiteY8" fmla="*/ 112205 h 225456"/>
                <a:gd name="connsiteX9" fmla="*/ 21526 w 157733"/>
                <a:gd name="connsiteY9" fmla="*/ 71247 h 225456"/>
                <a:gd name="connsiteX10" fmla="*/ 37529 w 157733"/>
                <a:gd name="connsiteY10" fmla="*/ 40386 h 225456"/>
                <a:gd name="connsiteX11" fmla="*/ 62770 w 157733"/>
                <a:gd name="connsiteY11" fmla="*/ 20765 h 225456"/>
                <a:gd name="connsiteX12" fmla="*/ 96488 w 157733"/>
                <a:gd name="connsiteY12" fmla="*/ 13811 h 225456"/>
                <a:gd name="connsiteX13" fmla="*/ 126206 w 157733"/>
                <a:gd name="connsiteY13" fmla="*/ 20384 h 225456"/>
                <a:gd name="connsiteX14" fmla="*/ 146685 w 157733"/>
                <a:gd name="connsiteY14" fmla="*/ 36195 h 225456"/>
                <a:gd name="connsiteX15" fmla="*/ 155638 w 157733"/>
                <a:gd name="connsiteY15" fmla="*/ 26003 h 225456"/>
                <a:gd name="connsiteX16" fmla="*/ 145542 w 157733"/>
                <a:gd name="connsiteY16" fmla="*/ 16764 h 225456"/>
                <a:gd name="connsiteX17" fmla="*/ 132493 w 157733"/>
                <a:gd name="connsiteY17" fmla="*/ 8382 h 225456"/>
                <a:gd name="connsiteX18" fmla="*/ 116110 w 157733"/>
                <a:gd name="connsiteY18" fmla="*/ 2286 h 225456"/>
                <a:gd name="connsiteX19" fmla="*/ 96107 w 157733"/>
                <a:gd name="connsiteY19" fmla="*/ 0 h 225456"/>
                <a:gd name="connsiteX20" fmla="*/ 56769 w 157733"/>
                <a:gd name="connsiteY20" fmla="*/ 7715 h 225456"/>
                <a:gd name="connsiteX21" fmla="*/ 26384 w 157733"/>
                <a:gd name="connsiteY21" fmla="*/ 30194 h 225456"/>
                <a:gd name="connsiteX22" fmla="*/ 6953 w 157733"/>
                <a:gd name="connsiteY22" fmla="*/ 65723 h 225456"/>
                <a:gd name="connsiteX23" fmla="*/ 0 w 157733"/>
                <a:gd name="connsiteY23" fmla="*/ 112300 h 225456"/>
                <a:gd name="connsiteX24" fmla="*/ 6763 w 157733"/>
                <a:gd name="connsiteY24" fmla="*/ 159353 h 225456"/>
                <a:gd name="connsiteX25" fmla="*/ 25717 w 157733"/>
                <a:gd name="connsiteY25" fmla="*/ 194977 h 225456"/>
                <a:gd name="connsiteX26" fmla="*/ 55054 w 157733"/>
                <a:gd name="connsiteY26" fmla="*/ 217551 h 225456"/>
                <a:gd name="connsiteX27" fmla="*/ 93345 w 157733"/>
                <a:gd name="connsiteY27" fmla="*/ 225457 h 225456"/>
                <a:gd name="connsiteX28" fmla="*/ 131159 w 157733"/>
                <a:gd name="connsiteY28" fmla="*/ 218504 h 225456"/>
                <a:gd name="connsiteX29" fmla="*/ 157734 w 157733"/>
                <a:gd name="connsiteY29" fmla="*/ 200692 h 225456"/>
                <a:gd name="connsiteX30" fmla="*/ 157734 w 157733"/>
                <a:gd name="connsiteY30" fmla="*/ 114491 h 225456"/>
                <a:gd name="connsiteX31" fmla="*/ 91059 w 157733"/>
                <a:gd name="connsiteY31" fmla="*/ 114491 h 225456"/>
                <a:gd name="connsiteX32" fmla="*/ 91059 w 157733"/>
                <a:gd name="connsiteY32" fmla="*/ 127445 h 225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57733" h="225456">
                  <a:moveTo>
                    <a:pt x="91059" y="127445"/>
                  </a:moveTo>
                  <a:lnTo>
                    <a:pt x="143256" y="127445"/>
                  </a:lnTo>
                  <a:lnTo>
                    <a:pt x="143256" y="195167"/>
                  </a:lnTo>
                  <a:cubicBezTo>
                    <a:pt x="138017" y="200406"/>
                    <a:pt x="130969" y="204502"/>
                    <a:pt x="122301" y="207359"/>
                  </a:cubicBezTo>
                  <a:cubicBezTo>
                    <a:pt x="113633" y="210217"/>
                    <a:pt x="104299" y="211646"/>
                    <a:pt x="94393" y="211646"/>
                  </a:cubicBezTo>
                  <a:cubicBezTo>
                    <a:pt x="82105" y="211646"/>
                    <a:pt x="70961" y="209264"/>
                    <a:pt x="61246" y="204502"/>
                  </a:cubicBezTo>
                  <a:cubicBezTo>
                    <a:pt x="51435" y="199739"/>
                    <a:pt x="43243" y="193072"/>
                    <a:pt x="36481" y="184499"/>
                  </a:cubicBezTo>
                  <a:cubicBezTo>
                    <a:pt x="29718" y="175927"/>
                    <a:pt x="24670" y="165544"/>
                    <a:pt x="21146" y="153257"/>
                  </a:cubicBezTo>
                  <a:cubicBezTo>
                    <a:pt x="17621" y="141065"/>
                    <a:pt x="15907" y="127349"/>
                    <a:pt x="15907" y="112205"/>
                  </a:cubicBezTo>
                  <a:cubicBezTo>
                    <a:pt x="15907" y="97060"/>
                    <a:pt x="17812" y="83344"/>
                    <a:pt x="21526" y="71247"/>
                  </a:cubicBezTo>
                  <a:cubicBezTo>
                    <a:pt x="25241" y="59150"/>
                    <a:pt x="30575" y="48863"/>
                    <a:pt x="37529" y="40386"/>
                  </a:cubicBezTo>
                  <a:cubicBezTo>
                    <a:pt x="44482" y="31909"/>
                    <a:pt x="52864" y="25337"/>
                    <a:pt x="62770" y="20765"/>
                  </a:cubicBezTo>
                  <a:cubicBezTo>
                    <a:pt x="72676" y="16097"/>
                    <a:pt x="83915" y="13811"/>
                    <a:pt x="96488" y="13811"/>
                  </a:cubicBezTo>
                  <a:cubicBezTo>
                    <a:pt x="108395" y="13811"/>
                    <a:pt x="118300" y="16002"/>
                    <a:pt x="126206" y="20384"/>
                  </a:cubicBezTo>
                  <a:cubicBezTo>
                    <a:pt x="134112" y="24765"/>
                    <a:pt x="140970" y="30099"/>
                    <a:pt x="146685" y="36195"/>
                  </a:cubicBezTo>
                  <a:lnTo>
                    <a:pt x="155638" y="26003"/>
                  </a:lnTo>
                  <a:cubicBezTo>
                    <a:pt x="152781" y="22955"/>
                    <a:pt x="149447" y="19812"/>
                    <a:pt x="145542" y="16764"/>
                  </a:cubicBezTo>
                  <a:cubicBezTo>
                    <a:pt x="141637" y="13716"/>
                    <a:pt x="137350" y="10859"/>
                    <a:pt x="132493" y="8382"/>
                  </a:cubicBezTo>
                  <a:cubicBezTo>
                    <a:pt x="127635" y="5810"/>
                    <a:pt x="122206" y="3810"/>
                    <a:pt x="116110" y="2286"/>
                  </a:cubicBezTo>
                  <a:cubicBezTo>
                    <a:pt x="110014" y="762"/>
                    <a:pt x="103442" y="0"/>
                    <a:pt x="96107" y="0"/>
                  </a:cubicBezTo>
                  <a:cubicBezTo>
                    <a:pt x="81820" y="0"/>
                    <a:pt x="68675" y="2572"/>
                    <a:pt x="56769" y="7715"/>
                  </a:cubicBezTo>
                  <a:cubicBezTo>
                    <a:pt x="44863" y="12859"/>
                    <a:pt x="34766" y="20384"/>
                    <a:pt x="26384" y="30194"/>
                  </a:cubicBezTo>
                  <a:cubicBezTo>
                    <a:pt x="18002" y="40005"/>
                    <a:pt x="11525" y="51816"/>
                    <a:pt x="6953" y="65723"/>
                  </a:cubicBezTo>
                  <a:cubicBezTo>
                    <a:pt x="2381" y="79629"/>
                    <a:pt x="0" y="95059"/>
                    <a:pt x="0" y="112300"/>
                  </a:cubicBezTo>
                  <a:cubicBezTo>
                    <a:pt x="0" y="129731"/>
                    <a:pt x="2286" y="145352"/>
                    <a:pt x="6763" y="159353"/>
                  </a:cubicBezTo>
                  <a:cubicBezTo>
                    <a:pt x="11239" y="173355"/>
                    <a:pt x="17621" y="185261"/>
                    <a:pt x="25717" y="194977"/>
                  </a:cubicBezTo>
                  <a:cubicBezTo>
                    <a:pt x="33814" y="204788"/>
                    <a:pt x="43625" y="212312"/>
                    <a:pt x="55054" y="217551"/>
                  </a:cubicBezTo>
                  <a:cubicBezTo>
                    <a:pt x="66484" y="222790"/>
                    <a:pt x="79248" y="225457"/>
                    <a:pt x="93345" y="225457"/>
                  </a:cubicBezTo>
                  <a:cubicBezTo>
                    <a:pt x="107633" y="225457"/>
                    <a:pt x="120205" y="223171"/>
                    <a:pt x="131159" y="218504"/>
                  </a:cubicBezTo>
                  <a:cubicBezTo>
                    <a:pt x="142018" y="213836"/>
                    <a:pt x="150876" y="207931"/>
                    <a:pt x="157734" y="200692"/>
                  </a:cubicBezTo>
                  <a:lnTo>
                    <a:pt x="157734" y="114491"/>
                  </a:lnTo>
                  <a:lnTo>
                    <a:pt x="91059" y="114491"/>
                  </a:lnTo>
                  <a:lnTo>
                    <a:pt x="91059" y="1274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8" name="Vrije vorm: vorm 37">
              <a:extLst>
                <a:ext uri="{FF2B5EF4-FFF2-40B4-BE49-F238E27FC236}">
                  <a16:creationId xmlns:a16="http://schemas.microsoft.com/office/drawing/2014/main" id="{EE04689D-D589-4B90-B108-EA7F094FBB7E}"/>
                </a:ext>
              </a:extLst>
            </p:cNvPr>
            <p:cNvSpPr/>
            <p:nvPr/>
          </p:nvSpPr>
          <p:spPr>
            <a:xfrm>
              <a:off x="6884764" y="3318605"/>
              <a:ext cx="137922" cy="217551"/>
            </a:xfrm>
            <a:custGeom>
              <a:avLst/>
              <a:gdLst>
                <a:gd name="connsiteX0" fmla="*/ 118681 w 137922"/>
                <a:gd name="connsiteY0" fmla="*/ 98393 h 217551"/>
                <a:gd name="connsiteX1" fmla="*/ 133731 w 137922"/>
                <a:gd name="connsiteY1" fmla="*/ 57436 h 217551"/>
                <a:gd name="connsiteX2" fmla="*/ 128588 w 137922"/>
                <a:gd name="connsiteY2" fmla="*/ 31052 h 217551"/>
                <a:gd name="connsiteX3" fmla="*/ 114205 w 137922"/>
                <a:gd name="connsiteY3" fmla="*/ 13240 h 217551"/>
                <a:gd name="connsiteX4" fmla="*/ 91726 w 137922"/>
                <a:gd name="connsiteY4" fmla="*/ 3143 h 217551"/>
                <a:gd name="connsiteX5" fmla="*/ 62389 w 137922"/>
                <a:gd name="connsiteY5" fmla="*/ 0 h 217551"/>
                <a:gd name="connsiteX6" fmla="*/ 0 w 137922"/>
                <a:gd name="connsiteY6" fmla="*/ 0 h 217551"/>
                <a:gd name="connsiteX7" fmla="*/ 0 w 137922"/>
                <a:gd name="connsiteY7" fmla="*/ 217551 h 217551"/>
                <a:gd name="connsiteX8" fmla="*/ 15145 w 137922"/>
                <a:gd name="connsiteY8" fmla="*/ 217551 h 217551"/>
                <a:gd name="connsiteX9" fmla="*/ 15145 w 137922"/>
                <a:gd name="connsiteY9" fmla="*/ 117539 h 217551"/>
                <a:gd name="connsiteX10" fmla="*/ 61341 w 137922"/>
                <a:gd name="connsiteY10" fmla="*/ 117539 h 217551"/>
                <a:gd name="connsiteX11" fmla="*/ 120396 w 137922"/>
                <a:gd name="connsiteY11" fmla="*/ 217551 h 217551"/>
                <a:gd name="connsiteX12" fmla="*/ 137922 w 137922"/>
                <a:gd name="connsiteY12" fmla="*/ 217551 h 217551"/>
                <a:gd name="connsiteX13" fmla="*/ 77819 w 137922"/>
                <a:gd name="connsiteY13" fmla="*/ 116491 h 217551"/>
                <a:gd name="connsiteX14" fmla="*/ 118681 w 137922"/>
                <a:gd name="connsiteY14" fmla="*/ 98393 h 217551"/>
                <a:gd name="connsiteX15" fmla="*/ 58388 w 137922"/>
                <a:gd name="connsiteY15" fmla="*/ 105061 h 217551"/>
                <a:gd name="connsiteX16" fmla="*/ 15145 w 137922"/>
                <a:gd name="connsiteY16" fmla="*/ 105061 h 217551"/>
                <a:gd name="connsiteX17" fmla="*/ 15145 w 137922"/>
                <a:gd name="connsiteY17" fmla="*/ 12954 h 217551"/>
                <a:gd name="connsiteX18" fmla="*/ 58388 w 137922"/>
                <a:gd name="connsiteY18" fmla="*/ 12954 h 217551"/>
                <a:gd name="connsiteX19" fmla="*/ 102584 w 137922"/>
                <a:gd name="connsiteY19" fmla="*/ 23051 h 217551"/>
                <a:gd name="connsiteX20" fmla="*/ 118110 w 137922"/>
                <a:gd name="connsiteY20" fmla="*/ 57531 h 217551"/>
                <a:gd name="connsiteX21" fmla="*/ 102775 w 137922"/>
                <a:gd name="connsiteY21" fmla="*/ 93345 h 217551"/>
                <a:gd name="connsiteX22" fmla="*/ 58388 w 137922"/>
                <a:gd name="connsiteY22" fmla="*/ 105061 h 217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7922" h="217551">
                  <a:moveTo>
                    <a:pt x="118681" y="98393"/>
                  </a:moveTo>
                  <a:cubicBezTo>
                    <a:pt x="128683" y="88487"/>
                    <a:pt x="133731" y="74867"/>
                    <a:pt x="133731" y="57436"/>
                  </a:cubicBezTo>
                  <a:cubicBezTo>
                    <a:pt x="133731" y="47054"/>
                    <a:pt x="132017" y="38291"/>
                    <a:pt x="128588" y="31052"/>
                  </a:cubicBezTo>
                  <a:cubicBezTo>
                    <a:pt x="125159" y="23813"/>
                    <a:pt x="120396" y="17812"/>
                    <a:pt x="114205" y="13240"/>
                  </a:cubicBezTo>
                  <a:cubicBezTo>
                    <a:pt x="108013" y="8572"/>
                    <a:pt x="100584" y="5239"/>
                    <a:pt x="91726" y="3143"/>
                  </a:cubicBezTo>
                  <a:cubicBezTo>
                    <a:pt x="82963" y="1048"/>
                    <a:pt x="73152" y="0"/>
                    <a:pt x="62389" y="0"/>
                  </a:cubicBezTo>
                  <a:lnTo>
                    <a:pt x="0" y="0"/>
                  </a:lnTo>
                  <a:lnTo>
                    <a:pt x="0" y="217551"/>
                  </a:lnTo>
                  <a:lnTo>
                    <a:pt x="15145" y="217551"/>
                  </a:lnTo>
                  <a:lnTo>
                    <a:pt x="15145" y="117539"/>
                  </a:lnTo>
                  <a:lnTo>
                    <a:pt x="61341" y="117539"/>
                  </a:lnTo>
                  <a:lnTo>
                    <a:pt x="120396" y="217551"/>
                  </a:lnTo>
                  <a:lnTo>
                    <a:pt x="137922" y="217551"/>
                  </a:lnTo>
                  <a:lnTo>
                    <a:pt x="77819" y="116491"/>
                  </a:lnTo>
                  <a:cubicBezTo>
                    <a:pt x="95059" y="114395"/>
                    <a:pt x="108680" y="108299"/>
                    <a:pt x="118681" y="98393"/>
                  </a:cubicBezTo>
                  <a:close/>
                  <a:moveTo>
                    <a:pt x="58388" y="105061"/>
                  </a:moveTo>
                  <a:lnTo>
                    <a:pt x="15145" y="105061"/>
                  </a:lnTo>
                  <a:lnTo>
                    <a:pt x="15145" y="12954"/>
                  </a:lnTo>
                  <a:lnTo>
                    <a:pt x="58388" y="12954"/>
                  </a:lnTo>
                  <a:cubicBezTo>
                    <a:pt x="77533" y="12954"/>
                    <a:pt x="92297" y="16288"/>
                    <a:pt x="102584" y="23051"/>
                  </a:cubicBezTo>
                  <a:cubicBezTo>
                    <a:pt x="112967" y="29813"/>
                    <a:pt x="118110" y="41243"/>
                    <a:pt x="118110" y="57531"/>
                  </a:cubicBezTo>
                  <a:cubicBezTo>
                    <a:pt x="118110" y="73628"/>
                    <a:pt x="112967" y="85535"/>
                    <a:pt x="102775" y="93345"/>
                  </a:cubicBezTo>
                  <a:cubicBezTo>
                    <a:pt x="92583" y="101156"/>
                    <a:pt x="77724" y="105061"/>
                    <a:pt x="58388" y="1050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9" name="Vrije vorm: vorm 38">
              <a:extLst>
                <a:ext uri="{FF2B5EF4-FFF2-40B4-BE49-F238E27FC236}">
                  <a16:creationId xmlns:a16="http://schemas.microsoft.com/office/drawing/2014/main" id="{607CCF08-C0AE-438B-BB8F-CC5EC3A923DE}"/>
                </a:ext>
              </a:extLst>
            </p:cNvPr>
            <p:cNvSpPr/>
            <p:nvPr/>
          </p:nvSpPr>
          <p:spPr>
            <a:xfrm>
              <a:off x="7053452" y="3314700"/>
              <a:ext cx="179165" cy="225456"/>
            </a:xfrm>
            <a:custGeom>
              <a:avLst/>
              <a:gdLst>
                <a:gd name="connsiteX0" fmla="*/ 154115 w 179165"/>
                <a:gd name="connsiteY0" fmla="*/ 30194 h 225456"/>
                <a:gd name="connsiteX1" fmla="*/ 125730 w 179165"/>
                <a:gd name="connsiteY1" fmla="*/ 7715 h 225456"/>
                <a:gd name="connsiteX2" fmla="*/ 89440 w 179165"/>
                <a:gd name="connsiteY2" fmla="*/ 0 h 225456"/>
                <a:gd name="connsiteX3" fmla="*/ 53435 w 179165"/>
                <a:gd name="connsiteY3" fmla="*/ 7715 h 225456"/>
                <a:gd name="connsiteX4" fmla="*/ 25051 w 179165"/>
                <a:gd name="connsiteY4" fmla="*/ 30194 h 225456"/>
                <a:gd name="connsiteX5" fmla="*/ 6572 w 179165"/>
                <a:gd name="connsiteY5" fmla="*/ 65532 h 225456"/>
                <a:gd name="connsiteX6" fmla="*/ 0 w 179165"/>
                <a:gd name="connsiteY6" fmla="*/ 111919 h 225456"/>
                <a:gd name="connsiteX7" fmla="*/ 6572 w 179165"/>
                <a:gd name="connsiteY7" fmla="*/ 158591 h 225456"/>
                <a:gd name="connsiteX8" fmla="*/ 25051 w 179165"/>
                <a:gd name="connsiteY8" fmla="*/ 194405 h 225456"/>
                <a:gd name="connsiteX9" fmla="*/ 53435 w 179165"/>
                <a:gd name="connsiteY9" fmla="*/ 217361 h 225456"/>
                <a:gd name="connsiteX10" fmla="*/ 89440 w 179165"/>
                <a:gd name="connsiteY10" fmla="*/ 225457 h 225456"/>
                <a:gd name="connsiteX11" fmla="*/ 125730 w 179165"/>
                <a:gd name="connsiteY11" fmla="*/ 217361 h 225456"/>
                <a:gd name="connsiteX12" fmla="*/ 154115 w 179165"/>
                <a:gd name="connsiteY12" fmla="*/ 194405 h 225456"/>
                <a:gd name="connsiteX13" fmla="*/ 172593 w 179165"/>
                <a:gd name="connsiteY13" fmla="*/ 158591 h 225456"/>
                <a:gd name="connsiteX14" fmla="*/ 179165 w 179165"/>
                <a:gd name="connsiteY14" fmla="*/ 111919 h 225456"/>
                <a:gd name="connsiteX15" fmla="*/ 172593 w 179165"/>
                <a:gd name="connsiteY15" fmla="*/ 65532 h 225456"/>
                <a:gd name="connsiteX16" fmla="*/ 154115 w 179165"/>
                <a:gd name="connsiteY16" fmla="*/ 30194 h 225456"/>
                <a:gd name="connsiteX17" fmla="*/ 157734 w 179165"/>
                <a:gd name="connsiteY17" fmla="*/ 152972 h 225456"/>
                <a:gd name="connsiteX18" fmla="*/ 142685 w 179165"/>
                <a:gd name="connsiteY18" fmla="*/ 184309 h 225456"/>
                <a:gd name="connsiteX19" fmla="*/ 119444 w 179165"/>
                <a:gd name="connsiteY19" fmla="*/ 204406 h 225456"/>
                <a:gd name="connsiteX20" fmla="*/ 89440 w 179165"/>
                <a:gd name="connsiteY20" fmla="*/ 211550 h 225456"/>
                <a:gd name="connsiteX21" fmla="*/ 59246 w 179165"/>
                <a:gd name="connsiteY21" fmla="*/ 204406 h 225456"/>
                <a:gd name="connsiteX22" fmla="*/ 36004 w 179165"/>
                <a:gd name="connsiteY22" fmla="*/ 184309 h 225456"/>
                <a:gd name="connsiteX23" fmla="*/ 21146 w 179165"/>
                <a:gd name="connsiteY23" fmla="*/ 152972 h 225456"/>
                <a:gd name="connsiteX24" fmla="*/ 15907 w 179165"/>
                <a:gd name="connsiteY24" fmla="*/ 111919 h 225456"/>
                <a:gd name="connsiteX25" fmla="*/ 21146 w 179165"/>
                <a:gd name="connsiteY25" fmla="*/ 71342 h 225456"/>
                <a:gd name="connsiteX26" fmla="*/ 36004 w 179165"/>
                <a:gd name="connsiteY26" fmla="*/ 40481 h 225456"/>
                <a:gd name="connsiteX27" fmla="*/ 59246 w 179165"/>
                <a:gd name="connsiteY27" fmla="*/ 20860 h 225456"/>
                <a:gd name="connsiteX28" fmla="*/ 89440 w 179165"/>
                <a:gd name="connsiteY28" fmla="*/ 13907 h 225456"/>
                <a:gd name="connsiteX29" fmla="*/ 119444 w 179165"/>
                <a:gd name="connsiteY29" fmla="*/ 20860 h 225456"/>
                <a:gd name="connsiteX30" fmla="*/ 142685 w 179165"/>
                <a:gd name="connsiteY30" fmla="*/ 40481 h 225456"/>
                <a:gd name="connsiteX31" fmla="*/ 157734 w 179165"/>
                <a:gd name="connsiteY31" fmla="*/ 71342 h 225456"/>
                <a:gd name="connsiteX32" fmla="*/ 162973 w 179165"/>
                <a:gd name="connsiteY32" fmla="*/ 111919 h 225456"/>
                <a:gd name="connsiteX33" fmla="*/ 157734 w 179165"/>
                <a:gd name="connsiteY33" fmla="*/ 152972 h 225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79165" h="225456">
                  <a:moveTo>
                    <a:pt x="154115" y="30194"/>
                  </a:moveTo>
                  <a:cubicBezTo>
                    <a:pt x="146209" y="20384"/>
                    <a:pt x="136684" y="12954"/>
                    <a:pt x="125730" y="7715"/>
                  </a:cubicBezTo>
                  <a:cubicBezTo>
                    <a:pt x="114776" y="2572"/>
                    <a:pt x="102679" y="0"/>
                    <a:pt x="89440" y="0"/>
                  </a:cubicBezTo>
                  <a:cubicBezTo>
                    <a:pt x="76486" y="0"/>
                    <a:pt x="64484" y="2572"/>
                    <a:pt x="53435" y="7715"/>
                  </a:cubicBezTo>
                  <a:cubicBezTo>
                    <a:pt x="42386" y="12859"/>
                    <a:pt x="32957" y="20384"/>
                    <a:pt x="25051" y="30194"/>
                  </a:cubicBezTo>
                  <a:cubicBezTo>
                    <a:pt x="17145" y="40005"/>
                    <a:pt x="10954" y="51816"/>
                    <a:pt x="6572" y="65532"/>
                  </a:cubicBezTo>
                  <a:cubicBezTo>
                    <a:pt x="2191" y="79248"/>
                    <a:pt x="0" y="94774"/>
                    <a:pt x="0" y="111919"/>
                  </a:cubicBezTo>
                  <a:cubicBezTo>
                    <a:pt x="0" y="129064"/>
                    <a:pt x="2191" y="144685"/>
                    <a:pt x="6572" y="158591"/>
                  </a:cubicBezTo>
                  <a:cubicBezTo>
                    <a:pt x="10954" y="172593"/>
                    <a:pt x="17145" y="184499"/>
                    <a:pt x="25051" y="194405"/>
                  </a:cubicBezTo>
                  <a:cubicBezTo>
                    <a:pt x="32957" y="204311"/>
                    <a:pt x="42482" y="211931"/>
                    <a:pt x="53435" y="217361"/>
                  </a:cubicBezTo>
                  <a:cubicBezTo>
                    <a:pt x="64389" y="222790"/>
                    <a:pt x="76486" y="225457"/>
                    <a:pt x="89440" y="225457"/>
                  </a:cubicBezTo>
                  <a:cubicBezTo>
                    <a:pt x="102679" y="225457"/>
                    <a:pt x="114776" y="222790"/>
                    <a:pt x="125730" y="217361"/>
                  </a:cubicBezTo>
                  <a:cubicBezTo>
                    <a:pt x="136779" y="211931"/>
                    <a:pt x="146209" y="204311"/>
                    <a:pt x="154115" y="194405"/>
                  </a:cubicBezTo>
                  <a:cubicBezTo>
                    <a:pt x="162020" y="184499"/>
                    <a:pt x="168212" y="172593"/>
                    <a:pt x="172593" y="158591"/>
                  </a:cubicBezTo>
                  <a:cubicBezTo>
                    <a:pt x="176975" y="144590"/>
                    <a:pt x="179165" y="129064"/>
                    <a:pt x="179165" y="111919"/>
                  </a:cubicBezTo>
                  <a:cubicBezTo>
                    <a:pt x="179165" y="94774"/>
                    <a:pt x="176975" y="79248"/>
                    <a:pt x="172593" y="65532"/>
                  </a:cubicBezTo>
                  <a:cubicBezTo>
                    <a:pt x="168212" y="51816"/>
                    <a:pt x="162116" y="40005"/>
                    <a:pt x="154115" y="30194"/>
                  </a:cubicBezTo>
                  <a:close/>
                  <a:moveTo>
                    <a:pt x="157734" y="152972"/>
                  </a:moveTo>
                  <a:cubicBezTo>
                    <a:pt x="154210" y="165164"/>
                    <a:pt x="149162" y="175641"/>
                    <a:pt x="142685" y="184309"/>
                  </a:cubicBezTo>
                  <a:cubicBezTo>
                    <a:pt x="136208" y="192977"/>
                    <a:pt x="128397" y="199739"/>
                    <a:pt x="119444" y="204406"/>
                  </a:cubicBezTo>
                  <a:cubicBezTo>
                    <a:pt x="110395" y="209169"/>
                    <a:pt x="100394" y="211550"/>
                    <a:pt x="89440" y="211550"/>
                  </a:cubicBezTo>
                  <a:cubicBezTo>
                    <a:pt x="78486" y="211550"/>
                    <a:pt x="68390" y="209169"/>
                    <a:pt x="59246" y="204406"/>
                  </a:cubicBezTo>
                  <a:cubicBezTo>
                    <a:pt x="50102" y="199644"/>
                    <a:pt x="42386" y="192977"/>
                    <a:pt x="36004" y="184309"/>
                  </a:cubicBezTo>
                  <a:cubicBezTo>
                    <a:pt x="29623" y="175641"/>
                    <a:pt x="24670" y="165164"/>
                    <a:pt x="21146" y="152972"/>
                  </a:cubicBezTo>
                  <a:cubicBezTo>
                    <a:pt x="17621" y="140780"/>
                    <a:pt x="15907" y="127064"/>
                    <a:pt x="15907" y="111919"/>
                  </a:cubicBezTo>
                  <a:cubicBezTo>
                    <a:pt x="15907" y="96965"/>
                    <a:pt x="17621" y="83439"/>
                    <a:pt x="21146" y="71342"/>
                  </a:cubicBezTo>
                  <a:cubicBezTo>
                    <a:pt x="24670" y="59245"/>
                    <a:pt x="29623" y="48959"/>
                    <a:pt x="36004" y="40481"/>
                  </a:cubicBezTo>
                  <a:cubicBezTo>
                    <a:pt x="42386" y="32004"/>
                    <a:pt x="50102" y="25432"/>
                    <a:pt x="59246" y="20860"/>
                  </a:cubicBezTo>
                  <a:cubicBezTo>
                    <a:pt x="68390" y="16193"/>
                    <a:pt x="78486" y="13907"/>
                    <a:pt x="89440" y="13907"/>
                  </a:cubicBezTo>
                  <a:cubicBezTo>
                    <a:pt x="100394" y="13907"/>
                    <a:pt x="110490" y="16193"/>
                    <a:pt x="119444" y="20860"/>
                  </a:cubicBezTo>
                  <a:cubicBezTo>
                    <a:pt x="128492" y="25432"/>
                    <a:pt x="136208" y="32004"/>
                    <a:pt x="142685" y="40481"/>
                  </a:cubicBezTo>
                  <a:cubicBezTo>
                    <a:pt x="149162" y="48959"/>
                    <a:pt x="154210" y="59245"/>
                    <a:pt x="157734" y="71342"/>
                  </a:cubicBezTo>
                  <a:cubicBezTo>
                    <a:pt x="161258" y="83439"/>
                    <a:pt x="162973" y="96965"/>
                    <a:pt x="162973" y="111919"/>
                  </a:cubicBezTo>
                  <a:cubicBezTo>
                    <a:pt x="163068" y="127064"/>
                    <a:pt x="161258" y="140780"/>
                    <a:pt x="157734" y="15297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0" name="Vrije vorm: vorm 39">
              <a:extLst>
                <a:ext uri="{FF2B5EF4-FFF2-40B4-BE49-F238E27FC236}">
                  <a16:creationId xmlns:a16="http://schemas.microsoft.com/office/drawing/2014/main" id="{E445CF68-B49D-40C5-8A63-D5984A2285CD}"/>
                </a:ext>
              </a:extLst>
            </p:cNvPr>
            <p:cNvSpPr/>
            <p:nvPr/>
          </p:nvSpPr>
          <p:spPr>
            <a:xfrm>
              <a:off x="7285386" y="3318700"/>
              <a:ext cx="146589" cy="221456"/>
            </a:xfrm>
            <a:custGeom>
              <a:avLst/>
              <a:gdLst>
                <a:gd name="connsiteX0" fmla="*/ 132207 w 146589"/>
                <a:gd name="connsiteY0" fmla="*/ 132302 h 221456"/>
                <a:gd name="connsiteX1" fmla="*/ 127254 w 146589"/>
                <a:gd name="connsiteY1" fmla="*/ 168402 h 221456"/>
                <a:gd name="connsiteX2" fmla="*/ 114205 w 146589"/>
                <a:gd name="connsiteY2" fmla="*/ 191548 h 221456"/>
                <a:gd name="connsiteX3" fmla="*/ 95345 w 146589"/>
                <a:gd name="connsiteY3" fmla="*/ 203930 h 221456"/>
                <a:gd name="connsiteX4" fmla="*/ 72771 w 146589"/>
                <a:gd name="connsiteY4" fmla="*/ 207550 h 221456"/>
                <a:gd name="connsiteX5" fmla="*/ 50863 w 146589"/>
                <a:gd name="connsiteY5" fmla="*/ 203930 h 221456"/>
                <a:gd name="connsiteX6" fmla="*/ 32576 w 146589"/>
                <a:gd name="connsiteY6" fmla="*/ 191548 h 221456"/>
                <a:gd name="connsiteX7" fmla="*/ 19907 w 146589"/>
                <a:gd name="connsiteY7" fmla="*/ 168402 h 221456"/>
                <a:gd name="connsiteX8" fmla="*/ 15145 w 146589"/>
                <a:gd name="connsiteY8" fmla="*/ 132302 h 221456"/>
                <a:gd name="connsiteX9" fmla="*/ 15145 w 146589"/>
                <a:gd name="connsiteY9" fmla="*/ 0 h 221456"/>
                <a:gd name="connsiteX10" fmla="*/ 0 w 146589"/>
                <a:gd name="connsiteY10" fmla="*/ 0 h 221456"/>
                <a:gd name="connsiteX11" fmla="*/ 0 w 146589"/>
                <a:gd name="connsiteY11" fmla="*/ 134017 h 221456"/>
                <a:gd name="connsiteX12" fmla="*/ 6096 w 146589"/>
                <a:gd name="connsiteY12" fmla="*/ 176308 h 221456"/>
                <a:gd name="connsiteX13" fmla="*/ 22479 w 146589"/>
                <a:gd name="connsiteY13" fmla="*/ 203168 h 221456"/>
                <a:gd name="connsiteX14" fmla="*/ 45911 w 146589"/>
                <a:gd name="connsiteY14" fmla="*/ 217361 h 221456"/>
                <a:gd name="connsiteX15" fmla="*/ 72962 w 146589"/>
                <a:gd name="connsiteY15" fmla="*/ 221456 h 221456"/>
                <a:gd name="connsiteX16" fmla="*/ 100394 w 146589"/>
                <a:gd name="connsiteY16" fmla="*/ 217361 h 221456"/>
                <a:gd name="connsiteX17" fmla="*/ 123825 w 146589"/>
                <a:gd name="connsiteY17" fmla="*/ 203168 h 221456"/>
                <a:gd name="connsiteX18" fmla="*/ 140303 w 146589"/>
                <a:gd name="connsiteY18" fmla="*/ 176308 h 221456"/>
                <a:gd name="connsiteX19" fmla="*/ 146590 w 146589"/>
                <a:gd name="connsiteY19" fmla="*/ 134017 h 221456"/>
                <a:gd name="connsiteX20" fmla="*/ 146590 w 146589"/>
                <a:gd name="connsiteY20" fmla="*/ 0 h 221456"/>
                <a:gd name="connsiteX21" fmla="*/ 132397 w 146589"/>
                <a:gd name="connsiteY21" fmla="*/ 0 h 221456"/>
                <a:gd name="connsiteX22" fmla="*/ 132397 w 146589"/>
                <a:gd name="connsiteY22" fmla="*/ 132302 h 22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6589" h="221456">
                  <a:moveTo>
                    <a:pt x="132207" y="132302"/>
                  </a:moveTo>
                  <a:cubicBezTo>
                    <a:pt x="132207" y="146780"/>
                    <a:pt x="130588" y="158877"/>
                    <a:pt x="127254" y="168402"/>
                  </a:cubicBezTo>
                  <a:cubicBezTo>
                    <a:pt x="123920" y="178022"/>
                    <a:pt x="119634" y="185642"/>
                    <a:pt x="114205" y="191548"/>
                  </a:cubicBezTo>
                  <a:cubicBezTo>
                    <a:pt x="108776" y="197358"/>
                    <a:pt x="102584" y="201549"/>
                    <a:pt x="95345" y="203930"/>
                  </a:cubicBezTo>
                  <a:cubicBezTo>
                    <a:pt x="88202" y="206312"/>
                    <a:pt x="80677" y="207550"/>
                    <a:pt x="72771" y="207550"/>
                  </a:cubicBezTo>
                  <a:cubicBezTo>
                    <a:pt x="65056" y="207550"/>
                    <a:pt x="57721" y="206312"/>
                    <a:pt x="50863" y="203930"/>
                  </a:cubicBezTo>
                  <a:cubicBezTo>
                    <a:pt x="43910" y="201549"/>
                    <a:pt x="37814" y="197358"/>
                    <a:pt x="32576" y="191548"/>
                  </a:cubicBezTo>
                  <a:cubicBezTo>
                    <a:pt x="27337" y="185738"/>
                    <a:pt x="23051" y="178022"/>
                    <a:pt x="19907" y="168402"/>
                  </a:cubicBezTo>
                  <a:cubicBezTo>
                    <a:pt x="16764" y="158877"/>
                    <a:pt x="15145" y="146780"/>
                    <a:pt x="15145" y="132302"/>
                  </a:cubicBezTo>
                  <a:lnTo>
                    <a:pt x="15145" y="0"/>
                  </a:lnTo>
                  <a:lnTo>
                    <a:pt x="0" y="0"/>
                  </a:lnTo>
                  <a:lnTo>
                    <a:pt x="0" y="134017"/>
                  </a:lnTo>
                  <a:cubicBezTo>
                    <a:pt x="0" y="150971"/>
                    <a:pt x="2000" y="165068"/>
                    <a:pt x="6096" y="176308"/>
                  </a:cubicBezTo>
                  <a:cubicBezTo>
                    <a:pt x="10192" y="187547"/>
                    <a:pt x="15621" y="196501"/>
                    <a:pt x="22479" y="203168"/>
                  </a:cubicBezTo>
                  <a:cubicBezTo>
                    <a:pt x="29337" y="209931"/>
                    <a:pt x="37147" y="214598"/>
                    <a:pt x="45911" y="217361"/>
                  </a:cubicBezTo>
                  <a:cubicBezTo>
                    <a:pt x="54673" y="220123"/>
                    <a:pt x="63722" y="221456"/>
                    <a:pt x="72962" y="221456"/>
                  </a:cubicBezTo>
                  <a:cubicBezTo>
                    <a:pt x="82391" y="221456"/>
                    <a:pt x="91535" y="220123"/>
                    <a:pt x="100394" y="217361"/>
                  </a:cubicBezTo>
                  <a:cubicBezTo>
                    <a:pt x="109156" y="214598"/>
                    <a:pt x="116967" y="209836"/>
                    <a:pt x="123825" y="203168"/>
                  </a:cubicBezTo>
                  <a:cubicBezTo>
                    <a:pt x="130683" y="196501"/>
                    <a:pt x="136112" y="187452"/>
                    <a:pt x="140303" y="176308"/>
                  </a:cubicBezTo>
                  <a:cubicBezTo>
                    <a:pt x="144494" y="165068"/>
                    <a:pt x="146590" y="150971"/>
                    <a:pt x="146590" y="134017"/>
                  </a:cubicBezTo>
                  <a:lnTo>
                    <a:pt x="146590" y="0"/>
                  </a:lnTo>
                  <a:lnTo>
                    <a:pt x="132397" y="0"/>
                  </a:lnTo>
                  <a:lnTo>
                    <a:pt x="132397" y="13230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1" name="Vrije vorm: vorm 40">
              <a:extLst>
                <a:ext uri="{FF2B5EF4-FFF2-40B4-BE49-F238E27FC236}">
                  <a16:creationId xmlns:a16="http://schemas.microsoft.com/office/drawing/2014/main" id="{F65BF1C0-E4E4-42BD-9FB4-C4FBF4D77F4C}"/>
                </a:ext>
              </a:extLst>
            </p:cNvPr>
            <p:cNvSpPr/>
            <p:nvPr/>
          </p:nvSpPr>
          <p:spPr>
            <a:xfrm>
              <a:off x="7498460" y="3318605"/>
              <a:ext cx="133731" cy="217551"/>
            </a:xfrm>
            <a:custGeom>
              <a:avLst/>
              <a:gdLst>
                <a:gd name="connsiteX0" fmla="*/ 128207 w 133731"/>
                <a:gd name="connsiteY0" fmla="*/ 32385 h 217551"/>
                <a:gd name="connsiteX1" fmla="*/ 112681 w 133731"/>
                <a:gd name="connsiteY1" fmla="*/ 13526 h 217551"/>
                <a:gd name="connsiteX2" fmla="*/ 87916 w 133731"/>
                <a:gd name="connsiteY2" fmla="*/ 3143 h 217551"/>
                <a:gd name="connsiteX3" fmla="*/ 54769 w 133731"/>
                <a:gd name="connsiteY3" fmla="*/ 0 h 217551"/>
                <a:gd name="connsiteX4" fmla="*/ 0 w 133731"/>
                <a:gd name="connsiteY4" fmla="*/ 0 h 217551"/>
                <a:gd name="connsiteX5" fmla="*/ 0 w 133731"/>
                <a:gd name="connsiteY5" fmla="*/ 217551 h 217551"/>
                <a:gd name="connsiteX6" fmla="*/ 15145 w 133731"/>
                <a:gd name="connsiteY6" fmla="*/ 217551 h 217551"/>
                <a:gd name="connsiteX7" fmla="*/ 15145 w 133731"/>
                <a:gd name="connsiteY7" fmla="*/ 124111 h 217551"/>
                <a:gd name="connsiteX8" fmla="*/ 56102 w 133731"/>
                <a:gd name="connsiteY8" fmla="*/ 124111 h 217551"/>
                <a:gd name="connsiteX9" fmla="*/ 113252 w 133731"/>
                <a:gd name="connsiteY9" fmla="*/ 108395 h 217551"/>
                <a:gd name="connsiteX10" fmla="*/ 133731 w 133731"/>
                <a:gd name="connsiteY10" fmla="*/ 60674 h 217551"/>
                <a:gd name="connsiteX11" fmla="*/ 128207 w 133731"/>
                <a:gd name="connsiteY11" fmla="*/ 32385 h 217551"/>
                <a:gd name="connsiteX12" fmla="*/ 102013 w 133731"/>
                <a:gd name="connsiteY12" fmla="*/ 99441 h 217551"/>
                <a:gd name="connsiteX13" fmla="*/ 52483 w 133731"/>
                <a:gd name="connsiteY13" fmla="*/ 111347 h 217551"/>
                <a:gd name="connsiteX14" fmla="*/ 15145 w 133731"/>
                <a:gd name="connsiteY14" fmla="*/ 111347 h 217551"/>
                <a:gd name="connsiteX15" fmla="*/ 15145 w 133731"/>
                <a:gd name="connsiteY15" fmla="*/ 12954 h 217551"/>
                <a:gd name="connsiteX16" fmla="*/ 51149 w 133731"/>
                <a:gd name="connsiteY16" fmla="*/ 12954 h 217551"/>
                <a:gd name="connsiteX17" fmla="*/ 101537 w 133731"/>
                <a:gd name="connsiteY17" fmla="*/ 23146 h 217551"/>
                <a:gd name="connsiteX18" fmla="*/ 118205 w 133731"/>
                <a:gd name="connsiteY18" fmla="*/ 60770 h 217551"/>
                <a:gd name="connsiteX19" fmla="*/ 102013 w 133731"/>
                <a:gd name="connsiteY19" fmla="*/ 99441 h 217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33731" h="217551">
                  <a:moveTo>
                    <a:pt x="128207" y="32385"/>
                  </a:moveTo>
                  <a:cubicBezTo>
                    <a:pt x="124587" y="24670"/>
                    <a:pt x="119444" y="18383"/>
                    <a:pt x="112681" y="13526"/>
                  </a:cubicBezTo>
                  <a:cubicBezTo>
                    <a:pt x="105918" y="8668"/>
                    <a:pt x="97727" y="5239"/>
                    <a:pt x="87916" y="3143"/>
                  </a:cubicBezTo>
                  <a:cubicBezTo>
                    <a:pt x="78105" y="1048"/>
                    <a:pt x="67056" y="0"/>
                    <a:pt x="54769" y="0"/>
                  </a:cubicBezTo>
                  <a:lnTo>
                    <a:pt x="0" y="0"/>
                  </a:lnTo>
                  <a:lnTo>
                    <a:pt x="0" y="217551"/>
                  </a:lnTo>
                  <a:lnTo>
                    <a:pt x="15145" y="217551"/>
                  </a:lnTo>
                  <a:lnTo>
                    <a:pt x="15145" y="124111"/>
                  </a:lnTo>
                  <a:lnTo>
                    <a:pt x="56102" y="124111"/>
                  </a:lnTo>
                  <a:cubicBezTo>
                    <a:pt x="80486" y="124111"/>
                    <a:pt x="99536" y="118872"/>
                    <a:pt x="113252" y="108395"/>
                  </a:cubicBezTo>
                  <a:cubicBezTo>
                    <a:pt x="126873" y="97917"/>
                    <a:pt x="133731" y="82010"/>
                    <a:pt x="133731" y="60674"/>
                  </a:cubicBezTo>
                  <a:cubicBezTo>
                    <a:pt x="133636" y="49530"/>
                    <a:pt x="131826" y="40100"/>
                    <a:pt x="128207" y="32385"/>
                  </a:cubicBezTo>
                  <a:close/>
                  <a:moveTo>
                    <a:pt x="102013" y="99441"/>
                  </a:moveTo>
                  <a:cubicBezTo>
                    <a:pt x="91250" y="107347"/>
                    <a:pt x="74676" y="111347"/>
                    <a:pt x="52483" y="111347"/>
                  </a:cubicBezTo>
                  <a:lnTo>
                    <a:pt x="15145" y="111347"/>
                  </a:lnTo>
                  <a:lnTo>
                    <a:pt x="15145" y="12954"/>
                  </a:lnTo>
                  <a:lnTo>
                    <a:pt x="51149" y="12954"/>
                  </a:lnTo>
                  <a:cubicBezTo>
                    <a:pt x="73628" y="12954"/>
                    <a:pt x="90392" y="16383"/>
                    <a:pt x="101537" y="23146"/>
                  </a:cubicBezTo>
                  <a:cubicBezTo>
                    <a:pt x="112681" y="30004"/>
                    <a:pt x="118205" y="42482"/>
                    <a:pt x="118205" y="60770"/>
                  </a:cubicBezTo>
                  <a:cubicBezTo>
                    <a:pt x="118110" y="78581"/>
                    <a:pt x="112776" y="91535"/>
                    <a:pt x="102013" y="9944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1441470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en-GB" smtClean="0"/>
              <a:t>‹N›</a:t>
            </a:fld>
            <a:endParaRPr lang="en-GB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4630D5FB-1314-4998-8D21-8C1FE5889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77281" y="607966"/>
            <a:ext cx="10653440" cy="384511"/>
          </a:xfrm>
        </p:spPr>
        <p:txBody>
          <a:bodyPr lIns="0" tIns="0" bIns="0"/>
          <a:lstStyle>
            <a:lvl1pPr>
              <a:defRPr/>
            </a:lvl1pPr>
          </a:lstStyle>
          <a:p>
            <a:r>
              <a:rPr lang="en-GB" noProof="0"/>
              <a:t>Add a slide title</a:t>
            </a:r>
          </a:p>
        </p:txBody>
      </p:sp>
      <p:sp>
        <p:nvSpPr>
          <p:cNvPr id="14" name="Tijdelijke aanduiding voor verticale tekst 2">
            <a:extLst>
              <a:ext uri="{FF2B5EF4-FFF2-40B4-BE49-F238E27FC236}">
                <a16:creationId xmlns:a16="http://schemas.microsoft.com/office/drawing/2014/main" id="{3ECB7CD6-D94B-4C22-8005-989A2C87AAE8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977240" y="992478"/>
            <a:ext cx="10651889" cy="384511"/>
          </a:xfrm>
        </p:spPr>
        <p:txBody>
          <a:bodyPr vert="horz" lIns="0" tIns="0" bIns="0" anchor="t"/>
          <a:lstStyle>
            <a:lvl1pPr marL="0" indent="0">
              <a:buNone/>
              <a:defRPr sz="3000">
                <a:solidFill>
                  <a:schemeClr val="accent2"/>
                </a:solidFill>
              </a:defRPr>
            </a:lvl1pPr>
            <a:lvl2pPr marL="217483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Subtitle</a:t>
            </a:r>
          </a:p>
        </p:txBody>
      </p:sp>
      <p:sp>
        <p:nvSpPr>
          <p:cNvPr id="15" name="Tijdelijke aanduiding voor grafiek 12">
            <a:extLst>
              <a:ext uri="{FF2B5EF4-FFF2-40B4-BE49-F238E27FC236}">
                <a16:creationId xmlns:a16="http://schemas.microsoft.com/office/drawing/2014/main" id="{046E6DE7-06B8-44AD-B57D-82BA317666B2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20679" y="1590676"/>
            <a:ext cx="5208448" cy="4005157"/>
          </a:xfrm>
          <a:prstGeom prst="rect">
            <a:avLst/>
          </a:prstGeom>
          <a:noFill/>
          <a:ln>
            <a:noFill/>
          </a:ln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/>
              <a:t>Click the icon below </a:t>
            </a:r>
            <a:br>
              <a:rPr lang="en-GB"/>
            </a:br>
            <a:r>
              <a:rPr lang="en-GB"/>
              <a:t>to add a graph.</a:t>
            </a:r>
            <a:br>
              <a:rPr lang="en-GB"/>
            </a:br>
            <a:br>
              <a:rPr lang="en-GB"/>
            </a:br>
            <a:r>
              <a:rPr lang="en-GB"/>
              <a:t>Need additional help?</a:t>
            </a:r>
            <a:br>
              <a:rPr lang="en-GB"/>
            </a:br>
            <a:r>
              <a:rPr lang="en-GB"/>
              <a:t>To the side of the slides we’ve placed extra</a:t>
            </a:r>
            <a:br>
              <a:rPr lang="en-GB"/>
            </a:br>
            <a:r>
              <a:rPr lang="en-GB"/>
              <a:t> instructions how to process content. </a:t>
            </a:r>
          </a:p>
        </p:txBody>
      </p:sp>
      <p:sp>
        <p:nvSpPr>
          <p:cNvPr id="18" name="Tijdelijke aanduiding voor grafiek 12">
            <a:extLst>
              <a:ext uri="{FF2B5EF4-FFF2-40B4-BE49-F238E27FC236}">
                <a16:creationId xmlns:a16="http://schemas.microsoft.com/office/drawing/2014/main" id="{5D7DE72F-355A-4BBE-AE57-9EF6AFD35BD8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977239" y="1590676"/>
            <a:ext cx="5208448" cy="4005157"/>
          </a:xfrm>
          <a:prstGeom prst="rect">
            <a:avLst/>
          </a:prstGeom>
          <a:noFill/>
          <a:ln>
            <a:noFill/>
          </a:ln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/>
              <a:t>Click the icon below </a:t>
            </a:r>
            <a:br>
              <a:rPr lang="en-GB"/>
            </a:br>
            <a:r>
              <a:rPr lang="en-GB"/>
              <a:t>to add a graph.</a:t>
            </a:r>
            <a:br>
              <a:rPr lang="en-GB"/>
            </a:br>
            <a:br>
              <a:rPr lang="en-GB"/>
            </a:br>
            <a:r>
              <a:rPr lang="en-GB"/>
              <a:t>Need additional help?</a:t>
            </a:r>
            <a:br>
              <a:rPr lang="en-GB"/>
            </a:br>
            <a:r>
              <a:rPr lang="en-GB"/>
              <a:t>To the side of the slides we’ve placed extra</a:t>
            </a:r>
            <a:br>
              <a:rPr lang="en-GB"/>
            </a:br>
            <a:r>
              <a:rPr lang="en-GB"/>
              <a:t> instructions how to process content. </a:t>
            </a:r>
          </a:p>
        </p:txBody>
      </p:sp>
    </p:spTree>
    <p:extLst>
      <p:ext uri="{BB962C8B-B14F-4D97-AF65-F5344CB8AC3E}">
        <p14:creationId xmlns:p14="http://schemas.microsoft.com/office/powerpoint/2010/main" val="2130240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en-GB" smtClean="0"/>
              <a:t>‹N›</a:t>
            </a:fld>
            <a:endParaRPr lang="en-GB"/>
          </a:p>
        </p:txBody>
      </p:sp>
      <p:sp>
        <p:nvSpPr>
          <p:cNvPr id="10" name="Tijdelijke aanduiding voor grafiek 12">
            <a:extLst>
              <a:ext uri="{FF2B5EF4-FFF2-40B4-BE49-F238E27FC236}">
                <a16:creationId xmlns:a16="http://schemas.microsoft.com/office/drawing/2014/main" id="{63A6E34E-0BC1-419F-A30B-067298ED1587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2817640" y="1909710"/>
            <a:ext cx="6915635" cy="3686124"/>
          </a:xfrm>
          <a:prstGeom prst="rect">
            <a:avLst/>
          </a:prstGeom>
          <a:noFill/>
          <a:ln>
            <a:noFill/>
          </a:ln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/>
              <a:t>Click the icon below </a:t>
            </a:r>
            <a:br>
              <a:rPr lang="en-GB"/>
            </a:br>
            <a:r>
              <a:rPr lang="en-GB"/>
              <a:t>to add a graph.</a:t>
            </a:r>
            <a:br>
              <a:rPr lang="en-GB"/>
            </a:br>
            <a:br>
              <a:rPr lang="en-GB"/>
            </a:br>
            <a:r>
              <a:rPr lang="en-GB"/>
              <a:t>Need additional help?</a:t>
            </a:r>
            <a:br>
              <a:rPr lang="en-GB"/>
            </a:br>
            <a:r>
              <a:rPr lang="en-GB"/>
              <a:t>To the side of the slides we’ve placed extra</a:t>
            </a:r>
            <a:br>
              <a:rPr lang="en-GB"/>
            </a:br>
            <a:r>
              <a:rPr lang="en-GB"/>
              <a:t> instructions how to process content. 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1E75875F-59FA-47B5-9E46-FE62D2FD78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77281" y="607966"/>
            <a:ext cx="10653440" cy="384511"/>
          </a:xfrm>
        </p:spPr>
        <p:txBody>
          <a:bodyPr lIns="0" tIns="0" bIns="0"/>
          <a:lstStyle>
            <a:lvl1pPr>
              <a:defRPr/>
            </a:lvl1pPr>
          </a:lstStyle>
          <a:p>
            <a:r>
              <a:rPr lang="en-GB" noProof="0"/>
              <a:t>Add a slide title</a:t>
            </a:r>
          </a:p>
        </p:txBody>
      </p:sp>
      <p:sp>
        <p:nvSpPr>
          <p:cNvPr id="11" name="Tijdelijke aanduiding voor verticale tekst 2">
            <a:extLst>
              <a:ext uri="{FF2B5EF4-FFF2-40B4-BE49-F238E27FC236}">
                <a16:creationId xmlns:a16="http://schemas.microsoft.com/office/drawing/2014/main" id="{04E7CC5A-D2AE-4FF9-9CA4-0EC8FBFCC24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977240" y="992478"/>
            <a:ext cx="10651889" cy="384511"/>
          </a:xfrm>
        </p:spPr>
        <p:txBody>
          <a:bodyPr vert="horz" lIns="0" tIns="0" bIns="0" anchor="t"/>
          <a:lstStyle>
            <a:lvl1pPr marL="0" indent="0">
              <a:buNone/>
              <a:defRPr sz="3000">
                <a:solidFill>
                  <a:schemeClr val="accent2"/>
                </a:solidFill>
              </a:defRPr>
            </a:lvl1pPr>
            <a:lvl2pPr marL="217483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391519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GB" noProof="0"/>
              <a:t>Add a slide title</a:t>
            </a:r>
            <a:endParaRPr lang="en-GB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22" name="Tijdelijke aanduiding voor afbeelding 40"/>
          <p:cNvSpPr>
            <a:spLocks noGrp="1"/>
          </p:cNvSpPr>
          <p:nvPr userDrawn="1">
            <p:ph type="pic" sz="quarter" idx="14" hasCustomPrompt="1"/>
          </p:nvPr>
        </p:nvSpPr>
        <p:spPr>
          <a:xfrm>
            <a:off x="2487347" y="2675024"/>
            <a:ext cx="2399580" cy="665091"/>
          </a:xfrm>
          <a:ln>
            <a:noFill/>
          </a:ln>
        </p:spPr>
        <p:txBody>
          <a:bodyPr bIns="432000" anchor="ctr"/>
          <a:lstStyle>
            <a:lvl1pPr marL="0" indent="0" algn="ctr">
              <a:lnSpc>
                <a:spcPct val="75000"/>
              </a:lnSpc>
              <a:spcBef>
                <a:spcPts val="100"/>
              </a:spcBef>
              <a:spcAft>
                <a:spcPts val="100"/>
              </a:spcAft>
              <a:buNone/>
              <a:defRPr sz="900" i="1"/>
            </a:lvl1pPr>
          </a:lstStyle>
          <a:p>
            <a:r>
              <a:rPr lang="en-GB"/>
              <a:t>Click the icon below to </a:t>
            </a:r>
            <a:br>
              <a:rPr lang="en-GB"/>
            </a:br>
            <a:r>
              <a:rPr lang="en-GB"/>
              <a:t>add a client logo</a:t>
            </a:r>
          </a:p>
        </p:txBody>
      </p:sp>
      <p:sp>
        <p:nvSpPr>
          <p:cNvPr id="36" name="Tijdelijke aanduiding voor afbeelding 40">
            <a:extLst>
              <a:ext uri="{FF2B5EF4-FFF2-40B4-BE49-F238E27FC236}">
                <a16:creationId xmlns:a16="http://schemas.microsoft.com/office/drawing/2014/main" id="{452FBF76-761C-4ABC-84FA-DE4DCF9A20F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230547" y="2675024"/>
            <a:ext cx="2399580" cy="665091"/>
          </a:xfrm>
          <a:ln>
            <a:noFill/>
          </a:ln>
        </p:spPr>
        <p:txBody>
          <a:bodyPr bIns="432000" anchor="ctr"/>
          <a:lstStyle>
            <a:lvl1pPr marL="0" indent="0" algn="ctr">
              <a:lnSpc>
                <a:spcPct val="75000"/>
              </a:lnSpc>
              <a:spcBef>
                <a:spcPts val="100"/>
              </a:spcBef>
              <a:spcAft>
                <a:spcPts val="100"/>
              </a:spcAft>
              <a:buNone/>
              <a:defRPr sz="900" i="1"/>
            </a:lvl1pPr>
          </a:lstStyle>
          <a:p>
            <a:r>
              <a:rPr lang="en-GB"/>
              <a:t>Click the icon below to </a:t>
            </a:r>
            <a:br>
              <a:rPr lang="en-GB"/>
            </a:br>
            <a:r>
              <a:rPr lang="en-GB"/>
              <a:t>add a client logo</a:t>
            </a:r>
          </a:p>
        </p:txBody>
      </p:sp>
      <p:sp>
        <p:nvSpPr>
          <p:cNvPr id="37" name="Tijdelijke aanduiding voor afbeelding 40">
            <a:extLst>
              <a:ext uri="{FF2B5EF4-FFF2-40B4-BE49-F238E27FC236}">
                <a16:creationId xmlns:a16="http://schemas.microsoft.com/office/drawing/2014/main" id="{95DBB4DA-325F-4927-BA3F-0FC7816C685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73747" y="2675024"/>
            <a:ext cx="2399580" cy="665091"/>
          </a:xfrm>
          <a:ln>
            <a:noFill/>
          </a:ln>
        </p:spPr>
        <p:txBody>
          <a:bodyPr bIns="432000" anchor="ctr"/>
          <a:lstStyle>
            <a:lvl1pPr marL="0" indent="0" algn="ctr">
              <a:lnSpc>
                <a:spcPct val="75000"/>
              </a:lnSpc>
              <a:spcBef>
                <a:spcPts val="100"/>
              </a:spcBef>
              <a:spcAft>
                <a:spcPts val="100"/>
              </a:spcAft>
              <a:buNone/>
              <a:defRPr sz="900" i="1"/>
            </a:lvl1pPr>
          </a:lstStyle>
          <a:p>
            <a:r>
              <a:rPr lang="en-GB"/>
              <a:t>Click the icon below to </a:t>
            </a:r>
            <a:br>
              <a:rPr lang="en-GB"/>
            </a:br>
            <a:r>
              <a:rPr lang="en-GB"/>
              <a:t>add a client logo</a:t>
            </a:r>
          </a:p>
        </p:txBody>
      </p:sp>
      <p:sp>
        <p:nvSpPr>
          <p:cNvPr id="38" name="Tijdelijke aanduiding voor afbeelding 40">
            <a:extLst>
              <a:ext uri="{FF2B5EF4-FFF2-40B4-BE49-F238E27FC236}">
                <a16:creationId xmlns:a16="http://schemas.microsoft.com/office/drawing/2014/main" id="{36862504-520B-4A2D-8BE0-1AF7D1968B7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487347" y="3565512"/>
            <a:ext cx="2399580" cy="665091"/>
          </a:xfrm>
          <a:ln>
            <a:noFill/>
          </a:ln>
        </p:spPr>
        <p:txBody>
          <a:bodyPr bIns="432000" anchor="ctr"/>
          <a:lstStyle>
            <a:lvl1pPr marL="0" indent="0" algn="ctr">
              <a:lnSpc>
                <a:spcPct val="75000"/>
              </a:lnSpc>
              <a:spcBef>
                <a:spcPts val="100"/>
              </a:spcBef>
              <a:spcAft>
                <a:spcPts val="100"/>
              </a:spcAft>
              <a:buNone/>
              <a:defRPr sz="900" i="1"/>
            </a:lvl1pPr>
          </a:lstStyle>
          <a:p>
            <a:r>
              <a:rPr lang="en-GB"/>
              <a:t>Click the icon below to </a:t>
            </a:r>
            <a:br>
              <a:rPr lang="en-GB"/>
            </a:br>
            <a:r>
              <a:rPr lang="en-GB"/>
              <a:t>add a client logo</a:t>
            </a:r>
          </a:p>
        </p:txBody>
      </p:sp>
      <p:sp>
        <p:nvSpPr>
          <p:cNvPr id="39" name="Tijdelijke aanduiding voor afbeelding 40">
            <a:extLst>
              <a:ext uri="{FF2B5EF4-FFF2-40B4-BE49-F238E27FC236}">
                <a16:creationId xmlns:a16="http://schemas.microsoft.com/office/drawing/2014/main" id="{16CC4183-ADE5-4966-BCD0-EDA1FDBB69D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230547" y="3565512"/>
            <a:ext cx="2399580" cy="665091"/>
          </a:xfrm>
          <a:ln>
            <a:noFill/>
          </a:ln>
        </p:spPr>
        <p:txBody>
          <a:bodyPr bIns="432000" anchor="ctr"/>
          <a:lstStyle>
            <a:lvl1pPr marL="0" indent="0" algn="ctr">
              <a:lnSpc>
                <a:spcPct val="75000"/>
              </a:lnSpc>
              <a:spcBef>
                <a:spcPts val="100"/>
              </a:spcBef>
              <a:spcAft>
                <a:spcPts val="100"/>
              </a:spcAft>
              <a:buNone/>
              <a:defRPr sz="900" i="1"/>
            </a:lvl1pPr>
          </a:lstStyle>
          <a:p>
            <a:r>
              <a:rPr lang="en-GB"/>
              <a:t>Click the icon below to </a:t>
            </a:r>
            <a:br>
              <a:rPr lang="en-GB"/>
            </a:br>
            <a:r>
              <a:rPr lang="en-GB"/>
              <a:t>add a client logo</a:t>
            </a:r>
          </a:p>
        </p:txBody>
      </p:sp>
      <p:sp>
        <p:nvSpPr>
          <p:cNvPr id="40" name="Tijdelijke aanduiding voor afbeelding 40">
            <a:extLst>
              <a:ext uri="{FF2B5EF4-FFF2-40B4-BE49-F238E27FC236}">
                <a16:creationId xmlns:a16="http://schemas.microsoft.com/office/drawing/2014/main" id="{1F30C0A2-20FA-41FC-8FD2-054E4714B1B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973747" y="3565512"/>
            <a:ext cx="2399580" cy="665091"/>
          </a:xfrm>
          <a:ln>
            <a:noFill/>
          </a:ln>
        </p:spPr>
        <p:txBody>
          <a:bodyPr bIns="432000" anchor="ctr"/>
          <a:lstStyle>
            <a:lvl1pPr marL="0" indent="0" algn="ctr">
              <a:lnSpc>
                <a:spcPct val="75000"/>
              </a:lnSpc>
              <a:spcBef>
                <a:spcPts val="100"/>
              </a:spcBef>
              <a:spcAft>
                <a:spcPts val="100"/>
              </a:spcAft>
              <a:buNone/>
              <a:defRPr sz="900" i="1"/>
            </a:lvl1pPr>
          </a:lstStyle>
          <a:p>
            <a:r>
              <a:rPr lang="en-GB"/>
              <a:t>Click the icon below to </a:t>
            </a:r>
            <a:br>
              <a:rPr lang="en-GB"/>
            </a:br>
            <a:r>
              <a:rPr lang="en-GB"/>
              <a:t>add a client logo</a:t>
            </a:r>
          </a:p>
        </p:txBody>
      </p:sp>
      <p:sp>
        <p:nvSpPr>
          <p:cNvPr id="13" name="Tijdelijke aanduiding voor verticale tekst 2">
            <a:extLst>
              <a:ext uri="{FF2B5EF4-FFF2-40B4-BE49-F238E27FC236}">
                <a16:creationId xmlns:a16="http://schemas.microsoft.com/office/drawing/2014/main" id="{BC28655D-E6D9-438F-AA95-037E35EFA0A3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977240" y="992478"/>
            <a:ext cx="10651889" cy="384511"/>
          </a:xfrm>
        </p:spPr>
        <p:txBody>
          <a:bodyPr vert="horz" lIns="0" tIns="0" bIns="0" anchor="t"/>
          <a:lstStyle>
            <a:lvl1pPr marL="0" indent="0">
              <a:buNone/>
              <a:defRPr sz="3000">
                <a:solidFill>
                  <a:schemeClr val="accent2"/>
                </a:solidFill>
              </a:defRPr>
            </a:lvl1pPr>
            <a:lvl2pPr marL="217483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11549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accel="50000" decel="50000" autoRev="1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22"/>
                                        </p:tgtEl>
                                      </p:cBhvr>
                                      <p:by x="102500" y="1025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53" presetClass="entr" presetSubtype="16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mph" presetSubtype="0" accel="50000" decel="50000" autoRev="1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18" dur="500" fill="hold"/>
                                        <p:tgtEl>
                                          <p:spTgt spid="36"/>
                                        </p:tgtEl>
                                      </p:cBhvr>
                                      <p:by x="102500" y="1025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53" presetClass="entr" presetSubtype="16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mph" presetSubtype="0" accel="50000" decel="50000" autoRev="1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25" dur="500" fill="hold"/>
                                        <p:tgtEl>
                                          <p:spTgt spid="37"/>
                                        </p:tgtEl>
                                      </p:cBhvr>
                                      <p:by x="102500" y="102500"/>
                                    </p:animScale>
                                  </p:childTnLst>
                                </p:cTn>
                              </p:par>
                              <p:par>
                                <p:cTn id="26" presetID="53" presetClass="entr" presetSubtype="16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6" presetClass="emph" presetSubtype="0" accel="50000" decel="50000" autoRev="1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32" dur="500" fill="hold"/>
                                        <p:tgtEl>
                                          <p:spTgt spid="38"/>
                                        </p:tgtEl>
                                      </p:cBhvr>
                                      <p:by x="102500" y="1025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6" presetClass="emph" presetSubtype="0" accel="50000" decel="50000" autoRev="1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39" dur="500" fill="hold"/>
                                        <p:tgtEl>
                                          <p:spTgt spid="39"/>
                                        </p:tgtEl>
                                      </p:cBhvr>
                                      <p:by x="102500" y="102500"/>
                                    </p:animScale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6" presetClass="emph" presetSubtype="0" accel="50000" decel="50000" autoRev="1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46" dur="500" fill="hold"/>
                                        <p:tgtEl>
                                          <p:spTgt spid="40"/>
                                        </p:tgtEl>
                                      </p:cBhvr>
                                      <p:by x="102500" y="1025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  <p:bldP spid="22" grpId="1"/>
      <p:bldP spid="36" grpId="0"/>
      <p:bldP spid="36" grpId="1"/>
      <p:bldP spid="37" grpId="0"/>
      <p:bldP spid="37" grpId="1"/>
      <p:bldP spid="38" grpId="0"/>
      <p:bldP spid="38" grpId="1"/>
      <p:bldP spid="39" grpId="0"/>
      <p:bldP spid="39" grpId="1"/>
      <p:bldP spid="40" grpId="0"/>
      <p:bldP spid="40" grpId="1"/>
    </p:bld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r>
              <a:rPr lang="en-GB" noProof="0"/>
              <a:t>Add a slide title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900753" y="4718091"/>
            <a:ext cx="124241" cy="161084"/>
          </a:xfrm>
        </p:spPr>
        <p:txBody>
          <a:bodyPr vert="horz" lIns="0" tIns="0" rIns="0" bIns="0" anchor="ctr"/>
          <a:lstStyle>
            <a:lvl1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200"/>
            </a:lvl1pPr>
            <a:lvl2pPr marL="217483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0</a:t>
            </a:r>
          </a:p>
        </p:txBody>
      </p:sp>
      <p:sp>
        <p:nvSpPr>
          <p:cNvPr id="23" name="Tijdelijke aanduiding voor verticale tekst 2">
            <a:extLst>
              <a:ext uri="{FF2B5EF4-FFF2-40B4-BE49-F238E27FC236}">
                <a16:creationId xmlns:a16="http://schemas.microsoft.com/office/drawing/2014/main" id="{96339AD9-CAC5-49CB-996A-E9D7DBC51D43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176985" y="4732692"/>
            <a:ext cx="1827472" cy="259425"/>
          </a:xfrm>
        </p:spPr>
        <p:txBody>
          <a:bodyPr vert="horz" lIns="0" tIns="0" rIns="0" bIns="0" anchor="t"/>
          <a:lstStyle>
            <a:lvl1pPr marL="0" indent="0">
              <a:lnSpc>
                <a:spcPct val="90000"/>
              </a:lnSpc>
              <a:buNone/>
              <a:defRPr sz="2000" b="1"/>
            </a:lvl1pPr>
            <a:lvl2pPr marL="217483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Title of chapter</a:t>
            </a:r>
          </a:p>
        </p:txBody>
      </p:sp>
      <p:sp>
        <p:nvSpPr>
          <p:cNvPr id="42" name="Tijdelijke aanduiding voor afbeelding 8">
            <a:extLst>
              <a:ext uri="{FF2B5EF4-FFF2-40B4-BE49-F238E27FC236}">
                <a16:creationId xmlns:a16="http://schemas.microsoft.com/office/drawing/2014/main" id="{5CCB634F-0162-4BE7-A794-F4D4CB1AB6B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55204" y="2148289"/>
            <a:ext cx="1765963" cy="245676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bIns="792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/>
              <a:t>Click the icon below </a:t>
            </a:r>
            <a:br>
              <a:rPr lang="en-GB"/>
            </a:br>
            <a:r>
              <a:rPr lang="en-GB"/>
              <a:t>to add an image.</a:t>
            </a:r>
          </a:p>
        </p:txBody>
      </p:sp>
      <p:sp>
        <p:nvSpPr>
          <p:cNvPr id="19" name="Tijdelijke aanduiding voor verticale tekst 2">
            <a:extLst>
              <a:ext uri="{FF2B5EF4-FFF2-40B4-BE49-F238E27FC236}">
                <a16:creationId xmlns:a16="http://schemas.microsoft.com/office/drawing/2014/main" id="{2BE47A7F-0613-45BB-B89A-E8B3FD639BA0}"/>
              </a:ext>
            </a:extLst>
          </p:cNvPr>
          <p:cNvSpPr>
            <a:spLocks noGrp="1"/>
          </p:cNvSpPr>
          <p:nvPr>
            <p:ph type="body" orient="vert" idx="23" hasCustomPrompt="1"/>
          </p:nvPr>
        </p:nvSpPr>
        <p:spPr>
          <a:xfrm>
            <a:off x="3068320" y="4718091"/>
            <a:ext cx="124241" cy="161084"/>
          </a:xfrm>
        </p:spPr>
        <p:txBody>
          <a:bodyPr vert="horz" lIns="0" tIns="0" rIns="0" bIns="0" anchor="ctr"/>
          <a:lstStyle>
            <a:lvl1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200"/>
            </a:lvl1pPr>
            <a:lvl2pPr marL="217483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0</a:t>
            </a:r>
          </a:p>
        </p:txBody>
      </p:sp>
      <p:sp>
        <p:nvSpPr>
          <p:cNvPr id="20" name="Tijdelijke aanduiding voor verticale tekst 2">
            <a:extLst>
              <a:ext uri="{FF2B5EF4-FFF2-40B4-BE49-F238E27FC236}">
                <a16:creationId xmlns:a16="http://schemas.microsoft.com/office/drawing/2014/main" id="{C5637204-7F1F-4691-A042-334CC8AC3716}"/>
              </a:ext>
            </a:extLst>
          </p:cNvPr>
          <p:cNvSpPr>
            <a:spLocks noGrp="1"/>
          </p:cNvSpPr>
          <p:nvPr>
            <p:ph type="body" orient="vert" idx="24" hasCustomPrompt="1"/>
          </p:nvPr>
        </p:nvSpPr>
        <p:spPr>
          <a:xfrm>
            <a:off x="3344551" y="4732692"/>
            <a:ext cx="1827472" cy="259425"/>
          </a:xfrm>
        </p:spPr>
        <p:txBody>
          <a:bodyPr vert="horz" lIns="0" tIns="0" rIns="0" bIns="0" anchor="t"/>
          <a:lstStyle>
            <a:lvl1pPr marL="0" indent="0">
              <a:lnSpc>
                <a:spcPct val="90000"/>
              </a:lnSpc>
              <a:buNone/>
              <a:defRPr sz="2000" b="1"/>
            </a:lvl1pPr>
            <a:lvl2pPr marL="217483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Title of chapter</a:t>
            </a:r>
          </a:p>
        </p:txBody>
      </p:sp>
      <p:sp>
        <p:nvSpPr>
          <p:cNvPr id="21" name="Tijdelijke aanduiding voor verticale tekst 2">
            <a:extLst>
              <a:ext uri="{FF2B5EF4-FFF2-40B4-BE49-F238E27FC236}">
                <a16:creationId xmlns:a16="http://schemas.microsoft.com/office/drawing/2014/main" id="{276E205A-1882-4B45-9958-0C36E93DC92F}"/>
              </a:ext>
            </a:extLst>
          </p:cNvPr>
          <p:cNvSpPr>
            <a:spLocks noGrp="1"/>
          </p:cNvSpPr>
          <p:nvPr>
            <p:ph type="body" orient="vert" idx="25" hasCustomPrompt="1"/>
          </p:nvPr>
        </p:nvSpPr>
        <p:spPr>
          <a:xfrm>
            <a:off x="5231816" y="4718091"/>
            <a:ext cx="124241" cy="161084"/>
          </a:xfrm>
        </p:spPr>
        <p:txBody>
          <a:bodyPr vert="horz" lIns="0" tIns="0" rIns="0" bIns="0" anchor="ctr"/>
          <a:lstStyle>
            <a:lvl1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200"/>
            </a:lvl1pPr>
            <a:lvl2pPr marL="217483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0</a:t>
            </a:r>
          </a:p>
        </p:txBody>
      </p:sp>
      <p:sp>
        <p:nvSpPr>
          <p:cNvPr id="22" name="Tijdelijke aanduiding voor verticale tekst 2">
            <a:extLst>
              <a:ext uri="{FF2B5EF4-FFF2-40B4-BE49-F238E27FC236}">
                <a16:creationId xmlns:a16="http://schemas.microsoft.com/office/drawing/2014/main" id="{8B48740D-10CF-46DA-8923-C574754753E8}"/>
              </a:ext>
            </a:extLst>
          </p:cNvPr>
          <p:cNvSpPr>
            <a:spLocks noGrp="1"/>
          </p:cNvSpPr>
          <p:nvPr>
            <p:ph type="body" orient="vert" idx="26" hasCustomPrompt="1"/>
          </p:nvPr>
        </p:nvSpPr>
        <p:spPr>
          <a:xfrm>
            <a:off x="5508047" y="4732692"/>
            <a:ext cx="1827472" cy="259425"/>
          </a:xfrm>
        </p:spPr>
        <p:txBody>
          <a:bodyPr vert="horz" lIns="0" tIns="0" rIns="0" bIns="0" anchor="t"/>
          <a:lstStyle>
            <a:lvl1pPr marL="0" indent="0">
              <a:lnSpc>
                <a:spcPct val="90000"/>
              </a:lnSpc>
              <a:buNone/>
              <a:defRPr sz="2000" b="1"/>
            </a:lvl1pPr>
            <a:lvl2pPr marL="217483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Title of chapter</a:t>
            </a:r>
          </a:p>
        </p:txBody>
      </p:sp>
      <p:sp>
        <p:nvSpPr>
          <p:cNvPr id="24" name="Tijdelijke aanduiding voor verticale tekst 2">
            <a:extLst>
              <a:ext uri="{FF2B5EF4-FFF2-40B4-BE49-F238E27FC236}">
                <a16:creationId xmlns:a16="http://schemas.microsoft.com/office/drawing/2014/main" id="{F6A32573-E838-4553-9B57-175E00B9436B}"/>
              </a:ext>
            </a:extLst>
          </p:cNvPr>
          <p:cNvSpPr>
            <a:spLocks noGrp="1"/>
          </p:cNvSpPr>
          <p:nvPr>
            <p:ph type="body" orient="vert" idx="27" hasCustomPrompt="1"/>
          </p:nvPr>
        </p:nvSpPr>
        <p:spPr>
          <a:xfrm>
            <a:off x="7395312" y="4718091"/>
            <a:ext cx="124241" cy="161084"/>
          </a:xfrm>
        </p:spPr>
        <p:txBody>
          <a:bodyPr vert="horz" lIns="0" tIns="0" rIns="0" bIns="0" anchor="ctr"/>
          <a:lstStyle>
            <a:lvl1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200"/>
            </a:lvl1pPr>
            <a:lvl2pPr marL="217483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0</a:t>
            </a:r>
          </a:p>
        </p:txBody>
      </p:sp>
      <p:sp>
        <p:nvSpPr>
          <p:cNvPr id="25" name="Tijdelijke aanduiding voor verticale tekst 2">
            <a:extLst>
              <a:ext uri="{FF2B5EF4-FFF2-40B4-BE49-F238E27FC236}">
                <a16:creationId xmlns:a16="http://schemas.microsoft.com/office/drawing/2014/main" id="{A7F2F170-5B87-4C92-B0E0-C534368A0993}"/>
              </a:ext>
            </a:extLst>
          </p:cNvPr>
          <p:cNvSpPr>
            <a:spLocks noGrp="1"/>
          </p:cNvSpPr>
          <p:nvPr>
            <p:ph type="body" orient="vert" idx="28" hasCustomPrompt="1"/>
          </p:nvPr>
        </p:nvSpPr>
        <p:spPr>
          <a:xfrm>
            <a:off x="7671543" y="4732692"/>
            <a:ext cx="1827472" cy="259425"/>
          </a:xfrm>
        </p:spPr>
        <p:txBody>
          <a:bodyPr vert="horz" lIns="0" tIns="0" rIns="0" bIns="0" anchor="t"/>
          <a:lstStyle>
            <a:lvl1pPr marL="0" indent="0">
              <a:lnSpc>
                <a:spcPct val="90000"/>
              </a:lnSpc>
              <a:buNone/>
              <a:defRPr sz="2000" b="1"/>
            </a:lvl1pPr>
            <a:lvl2pPr marL="217483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Title of chapter</a:t>
            </a:r>
          </a:p>
        </p:txBody>
      </p:sp>
      <p:sp>
        <p:nvSpPr>
          <p:cNvPr id="26" name="Tijdelijke aanduiding voor verticale tekst 2">
            <a:extLst>
              <a:ext uri="{FF2B5EF4-FFF2-40B4-BE49-F238E27FC236}">
                <a16:creationId xmlns:a16="http://schemas.microsoft.com/office/drawing/2014/main" id="{97FE92C5-4CFC-426E-9339-B85BA962F52E}"/>
              </a:ext>
            </a:extLst>
          </p:cNvPr>
          <p:cNvSpPr>
            <a:spLocks noGrp="1"/>
          </p:cNvSpPr>
          <p:nvPr>
            <p:ph type="body" orient="vert" idx="29" hasCustomPrompt="1"/>
          </p:nvPr>
        </p:nvSpPr>
        <p:spPr>
          <a:xfrm>
            <a:off x="9558808" y="4718091"/>
            <a:ext cx="124241" cy="161084"/>
          </a:xfrm>
        </p:spPr>
        <p:txBody>
          <a:bodyPr vert="horz" lIns="0" tIns="0" rIns="0" bIns="0" anchor="ctr"/>
          <a:lstStyle>
            <a:lvl1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200"/>
            </a:lvl1pPr>
            <a:lvl2pPr marL="217483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0</a:t>
            </a:r>
          </a:p>
        </p:txBody>
      </p:sp>
      <p:sp>
        <p:nvSpPr>
          <p:cNvPr id="27" name="Tijdelijke aanduiding voor verticale tekst 2">
            <a:extLst>
              <a:ext uri="{FF2B5EF4-FFF2-40B4-BE49-F238E27FC236}">
                <a16:creationId xmlns:a16="http://schemas.microsoft.com/office/drawing/2014/main" id="{0957B1EF-1D64-44E1-B9A8-F6693F964298}"/>
              </a:ext>
            </a:extLst>
          </p:cNvPr>
          <p:cNvSpPr>
            <a:spLocks noGrp="1"/>
          </p:cNvSpPr>
          <p:nvPr>
            <p:ph type="body" orient="vert" idx="30" hasCustomPrompt="1"/>
          </p:nvPr>
        </p:nvSpPr>
        <p:spPr>
          <a:xfrm>
            <a:off x="9835039" y="4732692"/>
            <a:ext cx="1827472" cy="259425"/>
          </a:xfrm>
        </p:spPr>
        <p:txBody>
          <a:bodyPr vert="horz" lIns="0" tIns="0" rIns="0" bIns="0" anchor="t"/>
          <a:lstStyle>
            <a:lvl1pPr marL="0" indent="0">
              <a:lnSpc>
                <a:spcPct val="90000"/>
              </a:lnSpc>
              <a:buNone/>
              <a:defRPr sz="2000" b="1"/>
            </a:lvl1pPr>
            <a:lvl2pPr marL="217483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Title of chapter</a:t>
            </a:r>
          </a:p>
        </p:txBody>
      </p:sp>
      <p:sp>
        <p:nvSpPr>
          <p:cNvPr id="28" name="Tijdelijke aanduiding voor afbeelding 8">
            <a:extLst>
              <a:ext uri="{FF2B5EF4-FFF2-40B4-BE49-F238E27FC236}">
                <a16:creationId xmlns:a16="http://schemas.microsoft.com/office/drawing/2014/main" id="{6507097F-43EB-481F-AB02-F5344FB08844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119421" y="2148289"/>
            <a:ext cx="1765963" cy="245676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bIns="792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/>
              <a:t>Click the icon below </a:t>
            </a:r>
            <a:br>
              <a:rPr lang="en-GB"/>
            </a:br>
            <a:r>
              <a:rPr lang="en-GB"/>
              <a:t>to add an image.</a:t>
            </a:r>
          </a:p>
        </p:txBody>
      </p:sp>
      <p:sp>
        <p:nvSpPr>
          <p:cNvPr id="29" name="Tijdelijke aanduiding voor afbeelding 8">
            <a:extLst>
              <a:ext uri="{FF2B5EF4-FFF2-40B4-BE49-F238E27FC236}">
                <a16:creationId xmlns:a16="http://schemas.microsoft.com/office/drawing/2014/main" id="{A1EEA05F-8CEE-4EED-BBB5-B6CC8552722A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5279988" y="2148289"/>
            <a:ext cx="1765963" cy="245676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bIns="792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/>
              <a:t>Click the icon below </a:t>
            </a:r>
            <a:br>
              <a:rPr lang="en-GB"/>
            </a:br>
            <a:r>
              <a:rPr lang="en-GB"/>
              <a:t>to add an image.</a:t>
            </a:r>
          </a:p>
        </p:txBody>
      </p:sp>
      <p:sp>
        <p:nvSpPr>
          <p:cNvPr id="30" name="Tijdelijke aanduiding voor afbeelding 8">
            <a:extLst>
              <a:ext uri="{FF2B5EF4-FFF2-40B4-BE49-F238E27FC236}">
                <a16:creationId xmlns:a16="http://schemas.microsoft.com/office/drawing/2014/main" id="{BF3B6F3E-F058-4EFB-9028-F4572B32AEC5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7440555" y="2148289"/>
            <a:ext cx="1765963" cy="245676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bIns="792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/>
              <a:t>Click the icon below </a:t>
            </a:r>
            <a:br>
              <a:rPr lang="en-GB"/>
            </a:br>
            <a:r>
              <a:rPr lang="en-GB"/>
              <a:t>to add an image.</a:t>
            </a:r>
          </a:p>
        </p:txBody>
      </p:sp>
      <p:sp>
        <p:nvSpPr>
          <p:cNvPr id="31" name="Tijdelijke aanduiding voor afbeelding 8">
            <a:extLst>
              <a:ext uri="{FF2B5EF4-FFF2-40B4-BE49-F238E27FC236}">
                <a16:creationId xmlns:a16="http://schemas.microsoft.com/office/drawing/2014/main" id="{F4EBA69A-59BF-4A22-A8E2-4672012926E5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9601121" y="2148289"/>
            <a:ext cx="1765963" cy="245676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bIns="792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/>
              <a:t>Click the icon below </a:t>
            </a:r>
            <a:br>
              <a:rPr lang="en-GB"/>
            </a:br>
            <a:r>
              <a:rPr lang="en-GB"/>
              <a:t>to add an image.</a:t>
            </a:r>
          </a:p>
        </p:txBody>
      </p:sp>
      <p:sp>
        <p:nvSpPr>
          <p:cNvPr id="32" name="Tijdelijke aanduiding voor verticale tekst 2">
            <a:extLst>
              <a:ext uri="{FF2B5EF4-FFF2-40B4-BE49-F238E27FC236}">
                <a16:creationId xmlns:a16="http://schemas.microsoft.com/office/drawing/2014/main" id="{A03FD9A5-BB58-45AF-9658-E81E6B15D5D3}"/>
              </a:ext>
            </a:extLst>
          </p:cNvPr>
          <p:cNvSpPr>
            <a:spLocks noGrp="1"/>
          </p:cNvSpPr>
          <p:nvPr>
            <p:ph type="body" orient="vert" idx="35" hasCustomPrompt="1"/>
          </p:nvPr>
        </p:nvSpPr>
        <p:spPr>
          <a:xfrm>
            <a:off x="977240" y="992478"/>
            <a:ext cx="10651889" cy="384511"/>
          </a:xfrm>
        </p:spPr>
        <p:txBody>
          <a:bodyPr vert="horz" lIns="0" tIns="0" bIns="0" anchor="t"/>
          <a:lstStyle>
            <a:lvl1pPr marL="0" indent="0">
              <a:buNone/>
              <a:defRPr sz="3000">
                <a:solidFill>
                  <a:schemeClr val="accent2"/>
                </a:solidFill>
              </a:defRPr>
            </a:lvl1pPr>
            <a:lvl2pPr marL="217483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Subtitle</a:t>
            </a:r>
          </a:p>
        </p:txBody>
      </p:sp>
      <p:sp>
        <p:nvSpPr>
          <p:cNvPr id="33" name="Tijdelijke aanduiding voor dianummer 4">
            <a:extLst>
              <a:ext uri="{FF2B5EF4-FFF2-40B4-BE49-F238E27FC236}">
                <a16:creationId xmlns:a16="http://schemas.microsoft.com/office/drawing/2014/main" id="{0CB2DC05-3776-4E67-949E-B5D000EAA5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681" y="6274118"/>
            <a:ext cx="442041" cy="365125"/>
          </a:xfrm>
        </p:spPr>
        <p:txBody>
          <a:bodyPr/>
          <a:lstStyle/>
          <a:p>
            <a:fld id="{B502C9A5-716F-45E6-800B-D4D02CE26F90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2905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hort + fixed imag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" name="Tijdelijke aanduiding voor afbeelding 19">
            <a:extLst>
              <a:ext uri="{FF2B5EF4-FFF2-40B4-BE49-F238E27FC236}">
                <a16:creationId xmlns:a16="http://schemas.microsoft.com/office/drawing/2014/main" id="{2542DFB4-34FE-40F1-BA7B-D4CCFF638E5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4821" y="1434"/>
            <a:ext cx="12201641" cy="6856567"/>
          </a:xfrm>
          <a:prstGeom prst="rect">
            <a:avLst/>
          </a:prstGeom>
        </p:spPr>
      </p:pic>
      <p:sp>
        <p:nvSpPr>
          <p:cNvPr id="14" name="Tijdelijke aanduiding voor tekst 13">
            <a:extLst>
              <a:ext uri="{FF2B5EF4-FFF2-40B4-BE49-F238E27FC236}">
                <a16:creationId xmlns:a16="http://schemas.microsoft.com/office/drawing/2014/main" id="{6D266F51-F81C-4F01-A9E7-4456E7E62A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11114" y="0"/>
            <a:ext cx="7289419" cy="4245611"/>
          </a:xfrm>
          <a:custGeom>
            <a:avLst/>
            <a:gdLst>
              <a:gd name="connsiteX0" fmla="*/ 6628976 w 7289418"/>
              <a:gd name="connsiteY0" fmla="*/ 0 h 4245610"/>
              <a:gd name="connsiteX1" fmla="*/ 6671319 w 7289418"/>
              <a:gd name="connsiteY1" fmla="*/ 94434 h 4245610"/>
              <a:gd name="connsiteX2" fmla="*/ 7217192 w 7289418"/>
              <a:gd name="connsiteY2" fmla="*/ 1774999 h 4245610"/>
              <a:gd name="connsiteX3" fmla="*/ 7283719 w 7289418"/>
              <a:gd name="connsiteY3" fmla="*/ 2071554 h 4245610"/>
              <a:gd name="connsiteX4" fmla="*/ 7112202 w 7289418"/>
              <a:gd name="connsiteY4" fmla="*/ 2348562 h 4245610"/>
              <a:gd name="connsiteX5" fmla="*/ 6821223 w 7289418"/>
              <a:gd name="connsiteY5" fmla="*/ 2420035 h 4245610"/>
              <a:gd name="connsiteX6" fmla="*/ 0 w 7289418"/>
              <a:gd name="connsiteY6" fmla="*/ 4245610 h 4245610"/>
              <a:gd name="connsiteX7" fmla="*/ 0 w 7289418"/>
              <a:gd name="connsiteY7" fmla="*/ 1 h 4245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89418" h="4245610">
                <a:moveTo>
                  <a:pt x="6628976" y="0"/>
                </a:moveTo>
                <a:lnTo>
                  <a:pt x="6671319" y="94434"/>
                </a:lnTo>
                <a:cubicBezTo>
                  <a:pt x="6909449" y="651413"/>
                  <a:pt x="7091196" y="1212036"/>
                  <a:pt x="7217192" y="1774999"/>
                </a:cubicBezTo>
                <a:lnTo>
                  <a:pt x="7283719" y="2071554"/>
                </a:lnTo>
                <a:cubicBezTo>
                  <a:pt x="7311471" y="2195253"/>
                  <a:pt x="7235248" y="2318324"/>
                  <a:pt x="7112202" y="2348562"/>
                </a:cubicBezTo>
                <a:lnTo>
                  <a:pt x="6821223" y="2420035"/>
                </a:lnTo>
                <a:lnTo>
                  <a:pt x="0" y="4245610"/>
                </a:lnTo>
                <a:lnTo>
                  <a:pt x="0" y="1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5" name="Titel 5">
            <a:extLst>
              <a:ext uri="{FF2B5EF4-FFF2-40B4-BE49-F238E27FC236}">
                <a16:creationId xmlns:a16="http://schemas.microsoft.com/office/drawing/2014/main" id="{20DBEB7A-7FB1-4F46-90EC-A1F387B9FD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9516" y="1298687"/>
            <a:ext cx="5800773" cy="490400"/>
          </a:xfrm>
        </p:spPr>
        <p:txBody>
          <a:bodyPr/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GB" noProof="0"/>
              <a:t>Template for a short title</a:t>
            </a:r>
            <a:endParaRPr lang="en-GB"/>
          </a:p>
        </p:txBody>
      </p:sp>
      <p:sp>
        <p:nvSpPr>
          <p:cNvPr id="20" name="Tijdelijke aanduiding voor tekst 19">
            <a:extLst>
              <a:ext uri="{FF2B5EF4-FFF2-40B4-BE49-F238E27FC236}">
                <a16:creationId xmlns:a16="http://schemas.microsoft.com/office/drawing/2014/main" id="{FF5C0579-2F70-4964-8677-9A9AEB4495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1339" y="899559"/>
            <a:ext cx="1369048" cy="122301"/>
          </a:xfrm>
          <a:prstGeom prst="rect">
            <a:avLst/>
          </a:prstGeom>
          <a:blipFill>
            <a:blip r:embed="rId3"/>
            <a:srcRect/>
            <a:stretch>
              <a:fillRect t="10141" b="7644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78" name="Tijdelijke aanduiding voor dianummer 4">
            <a:extLst>
              <a:ext uri="{FF2B5EF4-FFF2-40B4-BE49-F238E27FC236}">
                <a16:creationId xmlns:a16="http://schemas.microsoft.com/office/drawing/2014/main" id="{30091A08-3DEA-4C52-81E5-47741FB42A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681" y="6274118"/>
            <a:ext cx="44204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79" name="Tijdelijke aanduiding voor verticale tekst 2">
            <a:extLst>
              <a:ext uri="{FF2B5EF4-FFF2-40B4-BE49-F238E27FC236}">
                <a16:creationId xmlns:a16="http://schemas.microsoft.com/office/drawing/2014/main" id="{9436207D-F2F6-4D82-8553-ECE1E3F080BF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899789" y="2013656"/>
            <a:ext cx="5800772" cy="267480"/>
          </a:xfrm>
        </p:spPr>
        <p:txBody>
          <a:bodyPr vert="horz" lIns="0" tIns="0" rIns="0" bIns="0"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  <a:lvl2pPr marL="217483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 algn="l"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Name | function</a:t>
            </a:r>
          </a:p>
        </p:txBody>
      </p:sp>
      <p:sp>
        <p:nvSpPr>
          <p:cNvPr id="80" name="Tijdelijke aanduiding voor verticale tekst 2">
            <a:extLst>
              <a:ext uri="{FF2B5EF4-FFF2-40B4-BE49-F238E27FC236}">
                <a16:creationId xmlns:a16="http://schemas.microsoft.com/office/drawing/2014/main" id="{916806B3-A71C-48C7-9112-2AD41C9857A8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899788" y="2440275"/>
            <a:ext cx="1694000" cy="183397"/>
          </a:xfrm>
        </p:spPr>
        <p:txBody>
          <a:bodyPr vert="horz" lIns="0" tIns="0" rIns="0" bIns="0" anchor="ctr"/>
          <a:lstStyle>
            <a:lvl1pPr marL="0" indent="0">
              <a:buNone/>
              <a:defRPr sz="1100">
                <a:solidFill>
                  <a:schemeClr val="accent2"/>
                </a:solidFill>
              </a:defRPr>
            </a:lvl1pPr>
            <a:lvl2pPr marL="217483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Location</a:t>
            </a:r>
          </a:p>
        </p:txBody>
      </p:sp>
      <p:sp>
        <p:nvSpPr>
          <p:cNvPr id="81" name="Tijdelijke aanduiding voor verticale tekst 2">
            <a:extLst>
              <a:ext uri="{FF2B5EF4-FFF2-40B4-BE49-F238E27FC236}">
                <a16:creationId xmlns:a16="http://schemas.microsoft.com/office/drawing/2014/main" id="{12BE65CD-CE96-429E-9C73-2F7DA43DFFFD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899788" y="2634868"/>
            <a:ext cx="1694000" cy="183397"/>
          </a:xfrm>
        </p:spPr>
        <p:txBody>
          <a:bodyPr vert="horz" lIns="0" tIns="0" rIns="0" bIns="0" anchor="ctr"/>
          <a:lstStyle>
            <a:lvl1pPr marL="0" indent="0">
              <a:buNone/>
              <a:defRPr sz="1100">
                <a:solidFill>
                  <a:schemeClr val="accent2"/>
                </a:solidFill>
              </a:defRPr>
            </a:lvl1pPr>
            <a:lvl2pPr marL="217483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298091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DAF7F0BE-1368-471B-96B8-BC58087E4A1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grpSp>
        <p:nvGrpSpPr>
          <p:cNvPr id="9" name="Graphic 17">
            <a:extLst>
              <a:ext uri="{FF2B5EF4-FFF2-40B4-BE49-F238E27FC236}">
                <a16:creationId xmlns:a16="http://schemas.microsoft.com/office/drawing/2014/main" id="{5E6FF773-8AAF-4DE5-9672-87CCC94A9C92}"/>
              </a:ext>
            </a:extLst>
          </p:cNvPr>
          <p:cNvGrpSpPr/>
          <p:nvPr userDrawn="1"/>
        </p:nvGrpSpPr>
        <p:grpSpPr>
          <a:xfrm>
            <a:off x="917333" y="1695571"/>
            <a:ext cx="2174619" cy="159467"/>
            <a:chOff x="4557712" y="3314700"/>
            <a:chExt cx="3074479" cy="225456"/>
          </a:xfrm>
          <a:solidFill>
            <a:schemeClr val="bg1"/>
          </a:solidFill>
        </p:grpSpPr>
        <p:sp>
          <p:nvSpPr>
            <p:cNvPr id="11" name="Vrije vorm: vorm 10">
              <a:extLst>
                <a:ext uri="{FF2B5EF4-FFF2-40B4-BE49-F238E27FC236}">
                  <a16:creationId xmlns:a16="http://schemas.microsoft.com/office/drawing/2014/main" id="{55EDE590-B4D6-4083-82AD-591510BC96E4}"/>
                </a:ext>
              </a:extLst>
            </p:cNvPr>
            <p:cNvSpPr/>
            <p:nvPr/>
          </p:nvSpPr>
          <p:spPr>
            <a:xfrm>
              <a:off x="4557712" y="3316033"/>
              <a:ext cx="157448" cy="220218"/>
            </a:xfrm>
            <a:custGeom>
              <a:avLst/>
              <a:gdLst>
                <a:gd name="connsiteX0" fmla="*/ 116205 w 157448"/>
                <a:gd name="connsiteY0" fmla="*/ 103346 h 220218"/>
                <a:gd name="connsiteX1" fmla="*/ 116205 w 157448"/>
                <a:gd name="connsiteY1" fmla="*/ 102013 h 220218"/>
                <a:gd name="connsiteX2" fmla="*/ 146209 w 157448"/>
                <a:gd name="connsiteY2" fmla="*/ 54197 h 220218"/>
                <a:gd name="connsiteX3" fmla="*/ 68961 w 157448"/>
                <a:gd name="connsiteY3" fmla="*/ 0 h 220218"/>
                <a:gd name="connsiteX4" fmla="*/ 0 w 157448"/>
                <a:gd name="connsiteY4" fmla="*/ 0 h 220218"/>
                <a:gd name="connsiteX5" fmla="*/ 0 w 157448"/>
                <a:gd name="connsiteY5" fmla="*/ 220218 h 220218"/>
                <a:gd name="connsiteX6" fmla="*/ 74581 w 157448"/>
                <a:gd name="connsiteY6" fmla="*/ 220218 h 220218"/>
                <a:gd name="connsiteX7" fmla="*/ 157448 w 157448"/>
                <a:gd name="connsiteY7" fmla="*/ 155543 h 220218"/>
                <a:gd name="connsiteX8" fmla="*/ 116205 w 157448"/>
                <a:gd name="connsiteY8" fmla="*/ 103346 h 220218"/>
                <a:gd name="connsiteX9" fmla="*/ 38291 w 157448"/>
                <a:gd name="connsiteY9" fmla="*/ 30290 h 220218"/>
                <a:gd name="connsiteX10" fmla="*/ 66389 w 157448"/>
                <a:gd name="connsiteY10" fmla="*/ 30290 h 220218"/>
                <a:gd name="connsiteX11" fmla="*/ 108680 w 157448"/>
                <a:gd name="connsiteY11" fmla="*/ 59912 h 220218"/>
                <a:gd name="connsiteX12" fmla="*/ 65818 w 157448"/>
                <a:gd name="connsiteY12" fmla="*/ 90869 h 220218"/>
                <a:gd name="connsiteX13" fmla="*/ 38291 w 157448"/>
                <a:gd name="connsiteY13" fmla="*/ 90869 h 220218"/>
                <a:gd name="connsiteX14" fmla="*/ 38291 w 157448"/>
                <a:gd name="connsiteY14" fmla="*/ 30290 h 220218"/>
                <a:gd name="connsiteX15" fmla="*/ 70676 w 157448"/>
                <a:gd name="connsiteY15" fmla="*/ 189833 h 220218"/>
                <a:gd name="connsiteX16" fmla="*/ 38291 w 157448"/>
                <a:gd name="connsiteY16" fmla="*/ 189833 h 220218"/>
                <a:gd name="connsiteX17" fmla="*/ 38291 w 157448"/>
                <a:gd name="connsiteY17" fmla="*/ 120110 h 220218"/>
                <a:gd name="connsiteX18" fmla="*/ 70676 w 157448"/>
                <a:gd name="connsiteY18" fmla="*/ 120110 h 220218"/>
                <a:gd name="connsiteX19" fmla="*/ 120206 w 157448"/>
                <a:gd name="connsiteY19" fmla="*/ 153448 h 220218"/>
                <a:gd name="connsiteX20" fmla="*/ 70676 w 157448"/>
                <a:gd name="connsiteY20" fmla="*/ 189833 h 220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57448" h="220218">
                  <a:moveTo>
                    <a:pt x="116205" y="103346"/>
                  </a:moveTo>
                  <a:lnTo>
                    <a:pt x="116205" y="102013"/>
                  </a:lnTo>
                  <a:cubicBezTo>
                    <a:pt x="135065" y="95250"/>
                    <a:pt x="146209" y="75057"/>
                    <a:pt x="146209" y="54197"/>
                  </a:cubicBezTo>
                  <a:cubicBezTo>
                    <a:pt x="146209" y="13811"/>
                    <a:pt x="113538" y="0"/>
                    <a:pt x="68961" y="0"/>
                  </a:cubicBezTo>
                  <a:lnTo>
                    <a:pt x="0" y="0"/>
                  </a:lnTo>
                  <a:lnTo>
                    <a:pt x="0" y="220218"/>
                  </a:lnTo>
                  <a:lnTo>
                    <a:pt x="74581" y="220218"/>
                  </a:lnTo>
                  <a:cubicBezTo>
                    <a:pt x="122111" y="220218"/>
                    <a:pt x="157448" y="199644"/>
                    <a:pt x="157448" y="155543"/>
                  </a:cubicBezTo>
                  <a:cubicBezTo>
                    <a:pt x="157448" y="125921"/>
                    <a:pt x="139922" y="108680"/>
                    <a:pt x="116205" y="103346"/>
                  </a:cubicBezTo>
                  <a:close/>
                  <a:moveTo>
                    <a:pt x="38291" y="30290"/>
                  </a:moveTo>
                  <a:lnTo>
                    <a:pt x="66389" y="30290"/>
                  </a:lnTo>
                  <a:cubicBezTo>
                    <a:pt x="94488" y="30290"/>
                    <a:pt x="108680" y="38386"/>
                    <a:pt x="108680" y="59912"/>
                  </a:cubicBezTo>
                  <a:cubicBezTo>
                    <a:pt x="108680" y="78772"/>
                    <a:pt x="95822" y="90869"/>
                    <a:pt x="65818" y="90869"/>
                  </a:cubicBezTo>
                  <a:lnTo>
                    <a:pt x="38291" y="90869"/>
                  </a:lnTo>
                  <a:lnTo>
                    <a:pt x="38291" y="30290"/>
                  </a:lnTo>
                  <a:close/>
                  <a:moveTo>
                    <a:pt x="70676" y="189833"/>
                  </a:moveTo>
                  <a:lnTo>
                    <a:pt x="38291" y="189833"/>
                  </a:lnTo>
                  <a:lnTo>
                    <a:pt x="38291" y="120110"/>
                  </a:lnTo>
                  <a:lnTo>
                    <a:pt x="70676" y="120110"/>
                  </a:lnTo>
                  <a:cubicBezTo>
                    <a:pt x="103061" y="120110"/>
                    <a:pt x="120206" y="130207"/>
                    <a:pt x="120206" y="153448"/>
                  </a:cubicBezTo>
                  <a:cubicBezTo>
                    <a:pt x="120110" y="178118"/>
                    <a:pt x="102299" y="189833"/>
                    <a:pt x="70676" y="18983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2" name="Vrije vorm: vorm 11">
              <a:extLst>
                <a:ext uri="{FF2B5EF4-FFF2-40B4-BE49-F238E27FC236}">
                  <a16:creationId xmlns:a16="http://schemas.microsoft.com/office/drawing/2014/main" id="{D9456937-7439-4DBD-A810-14ABFAFBD8A1}"/>
                </a:ext>
              </a:extLst>
            </p:cNvPr>
            <p:cNvSpPr/>
            <p:nvPr/>
          </p:nvSpPr>
          <p:spPr>
            <a:xfrm>
              <a:off x="4758118" y="3315938"/>
              <a:ext cx="162686" cy="220218"/>
            </a:xfrm>
            <a:custGeom>
              <a:avLst/>
              <a:gdLst>
                <a:gd name="connsiteX0" fmla="*/ 57721 w 162686"/>
                <a:gd name="connsiteY0" fmla="*/ 0 h 220218"/>
                <a:gd name="connsiteX1" fmla="*/ 0 w 162686"/>
                <a:gd name="connsiteY1" fmla="*/ 0 h 220218"/>
                <a:gd name="connsiteX2" fmla="*/ 0 w 162686"/>
                <a:gd name="connsiteY2" fmla="*/ 220218 h 220218"/>
                <a:gd name="connsiteX3" fmla="*/ 59722 w 162686"/>
                <a:gd name="connsiteY3" fmla="*/ 220218 h 220218"/>
                <a:gd name="connsiteX4" fmla="*/ 162687 w 162686"/>
                <a:gd name="connsiteY4" fmla="*/ 109061 h 220218"/>
                <a:gd name="connsiteX5" fmla="*/ 57721 w 162686"/>
                <a:gd name="connsiteY5" fmla="*/ 0 h 220218"/>
                <a:gd name="connsiteX6" fmla="*/ 55054 w 162686"/>
                <a:gd name="connsiteY6" fmla="*/ 188595 h 220218"/>
                <a:gd name="connsiteX7" fmla="*/ 38195 w 162686"/>
                <a:gd name="connsiteY7" fmla="*/ 188595 h 220218"/>
                <a:gd name="connsiteX8" fmla="*/ 38195 w 162686"/>
                <a:gd name="connsiteY8" fmla="*/ 31718 h 220218"/>
                <a:gd name="connsiteX9" fmla="*/ 55054 w 162686"/>
                <a:gd name="connsiteY9" fmla="*/ 31718 h 220218"/>
                <a:gd name="connsiteX10" fmla="*/ 123349 w 162686"/>
                <a:gd name="connsiteY10" fmla="*/ 109157 h 220218"/>
                <a:gd name="connsiteX11" fmla="*/ 55054 w 162686"/>
                <a:gd name="connsiteY11" fmla="*/ 188595 h 220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2686" h="220218">
                  <a:moveTo>
                    <a:pt x="57721" y="0"/>
                  </a:moveTo>
                  <a:lnTo>
                    <a:pt x="0" y="0"/>
                  </a:lnTo>
                  <a:lnTo>
                    <a:pt x="0" y="220218"/>
                  </a:lnTo>
                  <a:lnTo>
                    <a:pt x="59722" y="220218"/>
                  </a:lnTo>
                  <a:cubicBezTo>
                    <a:pt x="123730" y="220218"/>
                    <a:pt x="162687" y="182118"/>
                    <a:pt x="162687" y="109061"/>
                  </a:cubicBezTo>
                  <a:cubicBezTo>
                    <a:pt x="162687" y="36386"/>
                    <a:pt x="123730" y="0"/>
                    <a:pt x="57721" y="0"/>
                  </a:cubicBezTo>
                  <a:close/>
                  <a:moveTo>
                    <a:pt x="55054" y="188595"/>
                  </a:moveTo>
                  <a:lnTo>
                    <a:pt x="38195" y="188595"/>
                  </a:lnTo>
                  <a:lnTo>
                    <a:pt x="38195" y="31718"/>
                  </a:lnTo>
                  <a:lnTo>
                    <a:pt x="55054" y="31718"/>
                  </a:lnTo>
                  <a:cubicBezTo>
                    <a:pt x="98584" y="31718"/>
                    <a:pt x="123349" y="55245"/>
                    <a:pt x="123349" y="109157"/>
                  </a:cubicBezTo>
                  <a:cubicBezTo>
                    <a:pt x="123444" y="163354"/>
                    <a:pt x="98679" y="188595"/>
                    <a:pt x="55054" y="18859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3" name="Vrije vorm: vorm 12">
              <a:extLst>
                <a:ext uri="{FF2B5EF4-FFF2-40B4-BE49-F238E27FC236}">
                  <a16:creationId xmlns:a16="http://schemas.microsoft.com/office/drawing/2014/main" id="{B9280244-A61D-42F2-A9C0-7BC7B2EAFB6C}"/>
                </a:ext>
              </a:extLst>
            </p:cNvPr>
            <p:cNvSpPr/>
            <p:nvPr/>
          </p:nvSpPr>
          <p:spPr>
            <a:xfrm>
              <a:off x="4967382" y="3315938"/>
              <a:ext cx="160782" cy="220218"/>
            </a:xfrm>
            <a:custGeom>
              <a:avLst/>
              <a:gdLst>
                <a:gd name="connsiteX0" fmla="*/ 152210 w 160782"/>
                <a:gd name="connsiteY0" fmla="*/ 65341 h 220218"/>
                <a:gd name="connsiteX1" fmla="*/ 72962 w 160782"/>
                <a:gd name="connsiteY1" fmla="*/ 0 h 220218"/>
                <a:gd name="connsiteX2" fmla="*/ 0 w 160782"/>
                <a:gd name="connsiteY2" fmla="*/ 0 h 220218"/>
                <a:gd name="connsiteX3" fmla="*/ 0 w 160782"/>
                <a:gd name="connsiteY3" fmla="*/ 220218 h 220218"/>
                <a:gd name="connsiteX4" fmla="*/ 38291 w 160782"/>
                <a:gd name="connsiteY4" fmla="*/ 220218 h 220218"/>
                <a:gd name="connsiteX5" fmla="*/ 38291 w 160782"/>
                <a:gd name="connsiteY5" fmla="*/ 134017 h 220218"/>
                <a:gd name="connsiteX6" fmla="*/ 71342 w 160782"/>
                <a:gd name="connsiteY6" fmla="*/ 134017 h 220218"/>
                <a:gd name="connsiteX7" fmla="*/ 117920 w 160782"/>
                <a:gd name="connsiteY7" fmla="*/ 220218 h 220218"/>
                <a:gd name="connsiteX8" fmla="*/ 160782 w 160782"/>
                <a:gd name="connsiteY8" fmla="*/ 220218 h 220218"/>
                <a:gd name="connsiteX9" fmla="*/ 109252 w 160782"/>
                <a:gd name="connsiteY9" fmla="*/ 128302 h 220218"/>
                <a:gd name="connsiteX10" fmla="*/ 152210 w 160782"/>
                <a:gd name="connsiteY10" fmla="*/ 65341 h 220218"/>
                <a:gd name="connsiteX11" fmla="*/ 68961 w 160782"/>
                <a:gd name="connsiteY11" fmla="*/ 103061 h 220218"/>
                <a:gd name="connsiteX12" fmla="*/ 38291 w 160782"/>
                <a:gd name="connsiteY12" fmla="*/ 103061 h 220218"/>
                <a:gd name="connsiteX13" fmla="*/ 38291 w 160782"/>
                <a:gd name="connsiteY13" fmla="*/ 31337 h 220218"/>
                <a:gd name="connsiteX14" fmla="*/ 68961 w 160782"/>
                <a:gd name="connsiteY14" fmla="*/ 31337 h 220218"/>
                <a:gd name="connsiteX15" fmla="*/ 114491 w 160782"/>
                <a:gd name="connsiteY15" fmla="*/ 65341 h 220218"/>
                <a:gd name="connsiteX16" fmla="*/ 68961 w 160782"/>
                <a:gd name="connsiteY16" fmla="*/ 103061 h 220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60782" h="220218">
                  <a:moveTo>
                    <a:pt x="152210" y="65341"/>
                  </a:moveTo>
                  <a:cubicBezTo>
                    <a:pt x="152210" y="16193"/>
                    <a:pt x="117920" y="0"/>
                    <a:pt x="72962" y="0"/>
                  </a:cubicBezTo>
                  <a:lnTo>
                    <a:pt x="0" y="0"/>
                  </a:lnTo>
                  <a:lnTo>
                    <a:pt x="0" y="220218"/>
                  </a:lnTo>
                  <a:lnTo>
                    <a:pt x="38291" y="220218"/>
                  </a:lnTo>
                  <a:lnTo>
                    <a:pt x="38291" y="134017"/>
                  </a:lnTo>
                  <a:lnTo>
                    <a:pt x="71342" y="134017"/>
                  </a:lnTo>
                  <a:lnTo>
                    <a:pt x="117920" y="220218"/>
                  </a:lnTo>
                  <a:lnTo>
                    <a:pt x="160782" y="220218"/>
                  </a:lnTo>
                  <a:lnTo>
                    <a:pt x="109252" y="128302"/>
                  </a:lnTo>
                  <a:cubicBezTo>
                    <a:pt x="134969" y="119253"/>
                    <a:pt x="152210" y="99060"/>
                    <a:pt x="152210" y="65341"/>
                  </a:cubicBezTo>
                  <a:close/>
                  <a:moveTo>
                    <a:pt x="68961" y="103061"/>
                  </a:moveTo>
                  <a:lnTo>
                    <a:pt x="38291" y="103061"/>
                  </a:lnTo>
                  <a:lnTo>
                    <a:pt x="38291" y="31337"/>
                  </a:lnTo>
                  <a:lnTo>
                    <a:pt x="68961" y="31337"/>
                  </a:lnTo>
                  <a:cubicBezTo>
                    <a:pt x="98298" y="31337"/>
                    <a:pt x="114491" y="40100"/>
                    <a:pt x="114491" y="65341"/>
                  </a:cubicBezTo>
                  <a:cubicBezTo>
                    <a:pt x="114586" y="90297"/>
                    <a:pt x="98393" y="103061"/>
                    <a:pt x="68961" y="1030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4" name="Vrije vorm: vorm 13">
              <a:extLst>
                <a:ext uri="{FF2B5EF4-FFF2-40B4-BE49-F238E27FC236}">
                  <a16:creationId xmlns:a16="http://schemas.microsoft.com/office/drawing/2014/main" id="{31386BAA-62BD-4722-B9E5-1AE1138141F9}"/>
                </a:ext>
              </a:extLst>
            </p:cNvPr>
            <p:cNvSpPr/>
            <p:nvPr/>
          </p:nvSpPr>
          <p:spPr>
            <a:xfrm>
              <a:off x="5194553" y="3315938"/>
              <a:ext cx="163068" cy="220313"/>
            </a:xfrm>
            <a:custGeom>
              <a:avLst/>
              <a:gdLst>
                <a:gd name="connsiteX0" fmla="*/ 0 w 163068"/>
                <a:gd name="connsiteY0" fmla="*/ 33052 h 220313"/>
                <a:gd name="connsiteX1" fmla="*/ 62389 w 163068"/>
                <a:gd name="connsiteY1" fmla="*/ 33052 h 220313"/>
                <a:gd name="connsiteX2" fmla="*/ 62389 w 163068"/>
                <a:gd name="connsiteY2" fmla="*/ 220313 h 220313"/>
                <a:gd name="connsiteX3" fmla="*/ 100679 w 163068"/>
                <a:gd name="connsiteY3" fmla="*/ 220313 h 220313"/>
                <a:gd name="connsiteX4" fmla="*/ 100679 w 163068"/>
                <a:gd name="connsiteY4" fmla="*/ 33052 h 220313"/>
                <a:gd name="connsiteX5" fmla="*/ 163068 w 163068"/>
                <a:gd name="connsiteY5" fmla="*/ 33052 h 220313"/>
                <a:gd name="connsiteX6" fmla="*/ 163068 w 163068"/>
                <a:gd name="connsiteY6" fmla="*/ 0 h 220313"/>
                <a:gd name="connsiteX7" fmla="*/ 0 w 163068"/>
                <a:gd name="connsiteY7" fmla="*/ 0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068" h="220313">
                  <a:moveTo>
                    <a:pt x="0" y="33052"/>
                  </a:moveTo>
                  <a:lnTo>
                    <a:pt x="62389" y="33052"/>
                  </a:lnTo>
                  <a:lnTo>
                    <a:pt x="62389" y="220313"/>
                  </a:lnTo>
                  <a:lnTo>
                    <a:pt x="100679" y="220313"/>
                  </a:lnTo>
                  <a:lnTo>
                    <a:pt x="100679" y="33052"/>
                  </a:lnTo>
                  <a:lnTo>
                    <a:pt x="163068" y="33052"/>
                  </a:lnTo>
                  <a:lnTo>
                    <a:pt x="16306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5" name="Vrije vorm: vorm 14">
              <a:extLst>
                <a:ext uri="{FF2B5EF4-FFF2-40B4-BE49-F238E27FC236}">
                  <a16:creationId xmlns:a16="http://schemas.microsoft.com/office/drawing/2014/main" id="{1A25B4EA-7C53-434C-88E4-0AF34D317533}"/>
                </a:ext>
              </a:extLst>
            </p:cNvPr>
            <p:cNvSpPr/>
            <p:nvPr/>
          </p:nvSpPr>
          <p:spPr>
            <a:xfrm>
              <a:off x="5396864" y="3315938"/>
              <a:ext cx="164020" cy="220313"/>
            </a:xfrm>
            <a:custGeom>
              <a:avLst/>
              <a:gdLst>
                <a:gd name="connsiteX0" fmla="*/ 125730 w 164020"/>
                <a:gd name="connsiteY0" fmla="*/ 88583 h 220313"/>
                <a:gd name="connsiteX1" fmla="*/ 38291 w 164020"/>
                <a:gd name="connsiteY1" fmla="*/ 88583 h 220313"/>
                <a:gd name="connsiteX2" fmla="*/ 38291 w 164020"/>
                <a:gd name="connsiteY2" fmla="*/ 0 h 220313"/>
                <a:gd name="connsiteX3" fmla="*/ 0 w 164020"/>
                <a:gd name="connsiteY3" fmla="*/ 0 h 220313"/>
                <a:gd name="connsiteX4" fmla="*/ 0 w 164020"/>
                <a:gd name="connsiteY4" fmla="*/ 220313 h 220313"/>
                <a:gd name="connsiteX5" fmla="*/ 38291 w 164020"/>
                <a:gd name="connsiteY5" fmla="*/ 220313 h 220313"/>
                <a:gd name="connsiteX6" fmla="*/ 38291 w 164020"/>
                <a:gd name="connsiteY6" fmla="*/ 122587 h 220313"/>
                <a:gd name="connsiteX7" fmla="*/ 125730 w 164020"/>
                <a:gd name="connsiteY7" fmla="*/ 122587 h 220313"/>
                <a:gd name="connsiteX8" fmla="*/ 125730 w 164020"/>
                <a:gd name="connsiteY8" fmla="*/ 220313 h 220313"/>
                <a:gd name="connsiteX9" fmla="*/ 164021 w 164020"/>
                <a:gd name="connsiteY9" fmla="*/ 220313 h 220313"/>
                <a:gd name="connsiteX10" fmla="*/ 164021 w 164020"/>
                <a:gd name="connsiteY10" fmla="*/ 0 h 220313"/>
                <a:gd name="connsiteX11" fmla="*/ 125730 w 164020"/>
                <a:gd name="connsiteY11" fmla="*/ 0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4020" h="220313">
                  <a:moveTo>
                    <a:pt x="125730" y="88583"/>
                  </a:moveTo>
                  <a:lnTo>
                    <a:pt x="38291" y="88583"/>
                  </a:lnTo>
                  <a:lnTo>
                    <a:pt x="38291" y="0"/>
                  </a:lnTo>
                  <a:lnTo>
                    <a:pt x="0" y="0"/>
                  </a:lnTo>
                  <a:lnTo>
                    <a:pt x="0" y="220313"/>
                  </a:lnTo>
                  <a:lnTo>
                    <a:pt x="38291" y="220313"/>
                  </a:lnTo>
                  <a:lnTo>
                    <a:pt x="38291" y="122587"/>
                  </a:lnTo>
                  <a:lnTo>
                    <a:pt x="125730" y="122587"/>
                  </a:lnTo>
                  <a:lnTo>
                    <a:pt x="125730" y="220313"/>
                  </a:lnTo>
                  <a:lnTo>
                    <a:pt x="164021" y="220313"/>
                  </a:lnTo>
                  <a:lnTo>
                    <a:pt x="164021" y="0"/>
                  </a:lnTo>
                  <a:lnTo>
                    <a:pt x="12573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6" name="Vrije vorm: vorm 15">
              <a:extLst>
                <a:ext uri="{FF2B5EF4-FFF2-40B4-BE49-F238E27FC236}">
                  <a16:creationId xmlns:a16="http://schemas.microsoft.com/office/drawing/2014/main" id="{A6CE96E2-F264-4230-AAF2-EC5C38A85679}"/>
                </a:ext>
              </a:extLst>
            </p:cNvPr>
            <p:cNvSpPr/>
            <p:nvPr/>
          </p:nvSpPr>
          <p:spPr>
            <a:xfrm>
              <a:off x="5619082" y="3315938"/>
              <a:ext cx="133350" cy="220313"/>
            </a:xfrm>
            <a:custGeom>
              <a:avLst/>
              <a:gdLst>
                <a:gd name="connsiteX0" fmla="*/ 38290 w 133350"/>
                <a:gd name="connsiteY0" fmla="*/ 122301 h 220313"/>
                <a:gd name="connsiteX1" fmla="*/ 115824 w 133350"/>
                <a:gd name="connsiteY1" fmla="*/ 122301 h 220313"/>
                <a:gd name="connsiteX2" fmla="*/ 115824 w 133350"/>
                <a:gd name="connsiteY2" fmla="*/ 89249 h 220313"/>
                <a:gd name="connsiteX3" fmla="*/ 38290 w 133350"/>
                <a:gd name="connsiteY3" fmla="*/ 89249 h 220313"/>
                <a:gd name="connsiteX4" fmla="*/ 38290 w 133350"/>
                <a:gd name="connsiteY4" fmla="*/ 33052 h 220313"/>
                <a:gd name="connsiteX5" fmla="*/ 130016 w 133350"/>
                <a:gd name="connsiteY5" fmla="*/ 33052 h 220313"/>
                <a:gd name="connsiteX6" fmla="*/ 130016 w 133350"/>
                <a:gd name="connsiteY6" fmla="*/ 0 h 220313"/>
                <a:gd name="connsiteX7" fmla="*/ 0 w 133350"/>
                <a:gd name="connsiteY7" fmla="*/ 0 h 220313"/>
                <a:gd name="connsiteX8" fmla="*/ 0 w 133350"/>
                <a:gd name="connsiteY8" fmla="*/ 220313 h 220313"/>
                <a:gd name="connsiteX9" fmla="*/ 133350 w 133350"/>
                <a:gd name="connsiteY9" fmla="*/ 220313 h 220313"/>
                <a:gd name="connsiteX10" fmla="*/ 133350 w 133350"/>
                <a:gd name="connsiteY10" fmla="*/ 187262 h 220313"/>
                <a:gd name="connsiteX11" fmla="*/ 38290 w 133350"/>
                <a:gd name="connsiteY11" fmla="*/ 187262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3350" h="220313">
                  <a:moveTo>
                    <a:pt x="38290" y="122301"/>
                  </a:moveTo>
                  <a:lnTo>
                    <a:pt x="115824" y="122301"/>
                  </a:lnTo>
                  <a:lnTo>
                    <a:pt x="115824" y="89249"/>
                  </a:lnTo>
                  <a:lnTo>
                    <a:pt x="38290" y="89249"/>
                  </a:lnTo>
                  <a:lnTo>
                    <a:pt x="38290" y="33052"/>
                  </a:lnTo>
                  <a:lnTo>
                    <a:pt x="130016" y="33052"/>
                  </a:lnTo>
                  <a:lnTo>
                    <a:pt x="130016" y="0"/>
                  </a:lnTo>
                  <a:lnTo>
                    <a:pt x="0" y="0"/>
                  </a:lnTo>
                  <a:lnTo>
                    <a:pt x="0" y="220313"/>
                  </a:lnTo>
                  <a:lnTo>
                    <a:pt x="133350" y="220313"/>
                  </a:lnTo>
                  <a:lnTo>
                    <a:pt x="133350" y="187262"/>
                  </a:lnTo>
                  <a:lnTo>
                    <a:pt x="38290" y="1872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7" name="Vrije vorm: vorm 16">
              <a:extLst>
                <a:ext uri="{FF2B5EF4-FFF2-40B4-BE49-F238E27FC236}">
                  <a16:creationId xmlns:a16="http://schemas.microsoft.com/office/drawing/2014/main" id="{743F0E5F-A0B0-4FE2-9AF7-B8AF6786AD54}"/>
                </a:ext>
              </a:extLst>
            </p:cNvPr>
            <p:cNvSpPr/>
            <p:nvPr/>
          </p:nvSpPr>
          <p:spPr>
            <a:xfrm>
              <a:off x="5799581" y="3315938"/>
              <a:ext cx="160781" cy="220218"/>
            </a:xfrm>
            <a:custGeom>
              <a:avLst/>
              <a:gdLst>
                <a:gd name="connsiteX0" fmla="*/ 152209 w 160781"/>
                <a:gd name="connsiteY0" fmla="*/ 65341 h 220218"/>
                <a:gd name="connsiteX1" fmla="*/ 72961 w 160781"/>
                <a:gd name="connsiteY1" fmla="*/ 0 h 220218"/>
                <a:gd name="connsiteX2" fmla="*/ 0 w 160781"/>
                <a:gd name="connsiteY2" fmla="*/ 0 h 220218"/>
                <a:gd name="connsiteX3" fmla="*/ 0 w 160781"/>
                <a:gd name="connsiteY3" fmla="*/ 220218 h 220218"/>
                <a:gd name="connsiteX4" fmla="*/ 38290 w 160781"/>
                <a:gd name="connsiteY4" fmla="*/ 220218 h 220218"/>
                <a:gd name="connsiteX5" fmla="*/ 38290 w 160781"/>
                <a:gd name="connsiteY5" fmla="*/ 134017 h 220218"/>
                <a:gd name="connsiteX6" fmla="*/ 71342 w 160781"/>
                <a:gd name="connsiteY6" fmla="*/ 134017 h 220218"/>
                <a:gd name="connsiteX7" fmla="*/ 117919 w 160781"/>
                <a:gd name="connsiteY7" fmla="*/ 220218 h 220218"/>
                <a:gd name="connsiteX8" fmla="*/ 160782 w 160781"/>
                <a:gd name="connsiteY8" fmla="*/ 220218 h 220218"/>
                <a:gd name="connsiteX9" fmla="*/ 109252 w 160781"/>
                <a:gd name="connsiteY9" fmla="*/ 128302 h 220218"/>
                <a:gd name="connsiteX10" fmla="*/ 152209 w 160781"/>
                <a:gd name="connsiteY10" fmla="*/ 65341 h 220218"/>
                <a:gd name="connsiteX11" fmla="*/ 69056 w 160781"/>
                <a:gd name="connsiteY11" fmla="*/ 103061 h 220218"/>
                <a:gd name="connsiteX12" fmla="*/ 38386 w 160781"/>
                <a:gd name="connsiteY12" fmla="*/ 103061 h 220218"/>
                <a:gd name="connsiteX13" fmla="*/ 38386 w 160781"/>
                <a:gd name="connsiteY13" fmla="*/ 31337 h 220218"/>
                <a:gd name="connsiteX14" fmla="*/ 69056 w 160781"/>
                <a:gd name="connsiteY14" fmla="*/ 31337 h 220218"/>
                <a:gd name="connsiteX15" fmla="*/ 114586 w 160781"/>
                <a:gd name="connsiteY15" fmla="*/ 65341 h 220218"/>
                <a:gd name="connsiteX16" fmla="*/ 69056 w 160781"/>
                <a:gd name="connsiteY16" fmla="*/ 103061 h 220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60781" h="220218">
                  <a:moveTo>
                    <a:pt x="152209" y="65341"/>
                  </a:moveTo>
                  <a:cubicBezTo>
                    <a:pt x="152209" y="16193"/>
                    <a:pt x="117919" y="0"/>
                    <a:pt x="72961" y="0"/>
                  </a:cubicBezTo>
                  <a:lnTo>
                    <a:pt x="0" y="0"/>
                  </a:lnTo>
                  <a:lnTo>
                    <a:pt x="0" y="220218"/>
                  </a:lnTo>
                  <a:lnTo>
                    <a:pt x="38290" y="220218"/>
                  </a:lnTo>
                  <a:lnTo>
                    <a:pt x="38290" y="134017"/>
                  </a:lnTo>
                  <a:lnTo>
                    <a:pt x="71342" y="134017"/>
                  </a:lnTo>
                  <a:lnTo>
                    <a:pt x="117919" y="220218"/>
                  </a:lnTo>
                  <a:lnTo>
                    <a:pt x="160782" y="220218"/>
                  </a:lnTo>
                  <a:lnTo>
                    <a:pt x="109252" y="128302"/>
                  </a:lnTo>
                  <a:cubicBezTo>
                    <a:pt x="135064" y="119253"/>
                    <a:pt x="152209" y="99060"/>
                    <a:pt x="152209" y="65341"/>
                  </a:cubicBezTo>
                  <a:close/>
                  <a:moveTo>
                    <a:pt x="69056" y="103061"/>
                  </a:moveTo>
                  <a:lnTo>
                    <a:pt x="38386" y="103061"/>
                  </a:lnTo>
                  <a:lnTo>
                    <a:pt x="38386" y="31337"/>
                  </a:lnTo>
                  <a:lnTo>
                    <a:pt x="69056" y="31337"/>
                  </a:lnTo>
                  <a:cubicBezTo>
                    <a:pt x="98393" y="31337"/>
                    <a:pt x="114586" y="40100"/>
                    <a:pt x="114586" y="65341"/>
                  </a:cubicBezTo>
                  <a:cubicBezTo>
                    <a:pt x="114586" y="90297"/>
                    <a:pt x="98393" y="103061"/>
                    <a:pt x="69056" y="1030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8" name="Vrije vorm: vorm 17">
              <a:extLst>
                <a:ext uri="{FF2B5EF4-FFF2-40B4-BE49-F238E27FC236}">
                  <a16:creationId xmlns:a16="http://schemas.microsoft.com/office/drawing/2014/main" id="{5669B54D-F4A1-4BB1-A570-5B4934AC9D56}"/>
                </a:ext>
              </a:extLst>
            </p:cNvPr>
            <p:cNvSpPr/>
            <p:nvPr/>
          </p:nvSpPr>
          <p:spPr>
            <a:xfrm>
              <a:off x="5998273" y="3315938"/>
              <a:ext cx="191166" cy="220313"/>
            </a:xfrm>
            <a:custGeom>
              <a:avLst/>
              <a:gdLst>
                <a:gd name="connsiteX0" fmla="*/ 110300 w 191166"/>
                <a:gd name="connsiteY0" fmla="*/ 107823 h 220313"/>
                <a:gd name="connsiteX1" fmla="*/ 96774 w 191166"/>
                <a:gd name="connsiteY1" fmla="*/ 150971 h 220313"/>
                <a:gd name="connsiteX2" fmla="*/ 95440 w 191166"/>
                <a:gd name="connsiteY2" fmla="*/ 150971 h 220313"/>
                <a:gd name="connsiteX3" fmla="*/ 81534 w 191166"/>
                <a:gd name="connsiteY3" fmla="*/ 107823 h 220313"/>
                <a:gd name="connsiteX4" fmla="*/ 43243 w 191166"/>
                <a:gd name="connsiteY4" fmla="*/ 95 h 220313"/>
                <a:gd name="connsiteX5" fmla="*/ 0 w 191166"/>
                <a:gd name="connsiteY5" fmla="*/ 95 h 220313"/>
                <a:gd name="connsiteX6" fmla="*/ 0 w 191166"/>
                <a:gd name="connsiteY6" fmla="*/ 220313 h 220313"/>
                <a:gd name="connsiteX7" fmla="*/ 34671 w 191166"/>
                <a:gd name="connsiteY7" fmla="*/ 220313 h 220313"/>
                <a:gd name="connsiteX8" fmla="*/ 34671 w 191166"/>
                <a:gd name="connsiteY8" fmla="*/ 119634 h 220313"/>
                <a:gd name="connsiteX9" fmla="*/ 29718 w 191166"/>
                <a:gd name="connsiteY9" fmla="*/ 49625 h 220313"/>
                <a:gd name="connsiteX10" fmla="*/ 31051 w 191166"/>
                <a:gd name="connsiteY10" fmla="*/ 49625 h 220313"/>
                <a:gd name="connsiteX11" fmla="*/ 48196 w 191166"/>
                <a:gd name="connsiteY11" fmla="*/ 100775 h 220313"/>
                <a:gd name="connsiteX12" fmla="*/ 83820 w 191166"/>
                <a:gd name="connsiteY12" fmla="*/ 199739 h 220313"/>
                <a:gd name="connsiteX13" fmla="*/ 106585 w 191166"/>
                <a:gd name="connsiteY13" fmla="*/ 199739 h 220313"/>
                <a:gd name="connsiteX14" fmla="*/ 141922 w 191166"/>
                <a:gd name="connsiteY14" fmla="*/ 100775 h 220313"/>
                <a:gd name="connsiteX15" fmla="*/ 159448 w 191166"/>
                <a:gd name="connsiteY15" fmla="*/ 49625 h 220313"/>
                <a:gd name="connsiteX16" fmla="*/ 160782 w 191166"/>
                <a:gd name="connsiteY16" fmla="*/ 49625 h 220313"/>
                <a:gd name="connsiteX17" fmla="*/ 155829 w 191166"/>
                <a:gd name="connsiteY17" fmla="*/ 119634 h 220313"/>
                <a:gd name="connsiteX18" fmla="*/ 155829 w 191166"/>
                <a:gd name="connsiteY18" fmla="*/ 220313 h 220313"/>
                <a:gd name="connsiteX19" fmla="*/ 191167 w 191166"/>
                <a:gd name="connsiteY19" fmla="*/ 220313 h 220313"/>
                <a:gd name="connsiteX20" fmla="*/ 191167 w 191166"/>
                <a:gd name="connsiteY20" fmla="*/ 0 h 220313"/>
                <a:gd name="connsiteX21" fmla="*/ 147638 w 191166"/>
                <a:gd name="connsiteY21" fmla="*/ 0 h 220313"/>
                <a:gd name="connsiteX22" fmla="*/ 110300 w 191166"/>
                <a:gd name="connsiteY22" fmla="*/ 107823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1166" h="220313">
                  <a:moveTo>
                    <a:pt x="110300" y="107823"/>
                  </a:moveTo>
                  <a:cubicBezTo>
                    <a:pt x="105632" y="121634"/>
                    <a:pt x="101346" y="136493"/>
                    <a:pt x="96774" y="150971"/>
                  </a:cubicBezTo>
                  <a:lnTo>
                    <a:pt x="95440" y="150971"/>
                  </a:lnTo>
                  <a:cubicBezTo>
                    <a:pt x="90868" y="136493"/>
                    <a:pt x="86201" y="121634"/>
                    <a:pt x="81534" y="107823"/>
                  </a:cubicBezTo>
                  <a:lnTo>
                    <a:pt x="43243" y="95"/>
                  </a:lnTo>
                  <a:lnTo>
                    <a:pt x="0" y="95"/>
                  </a:lnTo>
                  <a:lnTo>
                    <a:pt x="0" y="220313"/>
                  </a:lnTo>
                  <a:lnTo>
                    <a:pt x="34671" y="220313"/>
                  </a:lnTo>
                  <a:lnTo>
                    <a:pt x="34671" y="119634"/>
                  </a:lnTo>
                  <a:cubicBezTo>
                    <a:pt x="34671" y="99060"/>
                    <a:pt x="31337" y="69818"/>
                    <a:pt x="29718" y="49625"/>
                  </a:cubicBezTo>
                  <a:lnTo>
                    <a:pt x="31051" y="49625"/>
                  </a:lnTo>
                  <a:lnTo>
                    <a:pt x="48196" y="100775"/>
                  </a:lnTo>
                  <a:lnTo>
                    <a:pt x="83820" y="199739"/>
                  </a:lnTo>
                  <a:lnTo>
                    <a:pt x="106585" y="199739"/>
                  </a:lnTo>
                  <a:lnTo>
                    <a:pt x="141922" y="100775"/>
                  </a:lnTo>
                  <a:lnTo>
                    <a:pt x="159448" y="49625"/>
                  </a:lnTo>
                  <a:lnTo>
                    <a:pt x="160782" y="49625"/>
                  </a:lnTo>
                  <a:cubicBezTo>
                    <a:pt x="158782" y="69818"/>
                    <a:pt x="155829" y="99155"/>
                    <a:pt x="155829" y="119634"/>
                  </a:cubicBezTo>
                  <a:lnTo>
                    <a:pt x="155829" y="220313"/>
                  </a:lnTo>
                  <a:lnTo>
                    <a:pt x="191167" y="220313"/>
                  </a:lnTo>
                  <a:lnTo>
                    <a:pt x="191167" y="0"/>
                  </a:lnTo>
                  <a:lnTo>
                    <a:pt x="147638" y="0"/>
                  </a:lnTo>
                  <a:lnTo>
                    <a:pt x="110300" y="1078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9" name="Vrije vorm: vorm 18">
              <a:extLst>
                <a:ext uri="{FF2B5EF4-FFF2-40B4-BE49-F238E27FC236}">
                  <a16:creationId xmlns:a16="http://schemas.microsoft.com/office/drawing/2014/main" id="{D81888FF-0670-497F-B6DD-1EF7C646F8DC}"/>
                </a:ext>
              </a:extLst>
            </p:cNvPr>
            <p:cNvSpPr/>
            <p:nvPr/>
          </p:nvSpPr>
          <p:spPr>
            <a:xfrm>
              <a:off x="6247256" y="3315938"/>
              <a:ext cx="133350" cy="220313"/>
            </a:xfrm>
            <a:custGeom>
              <a:avLst/>
              <a:gdLst>
                <a:gd name="connsiteX0" fmla="*/ 38290 w 133350"/>
                <a:gd name="connsiteY0" fmla="*/ 122301 h 220313"/>
                <a:gd name="connsiteX1" fmla="*/ 115824 w 133350"/>
                <a:gd name="connsiteY1" fmla="*/ 122301 h 220313"/>
                <a:gd name="connsiteX2" fmla="*/ 115824 w 133350"/>
                <a:gd name="connsiteY2" fmla="*/ 89249 h 220313"/>
                <a:gd name="connsiteX3" fmla="*/ 38290 w 133350"/>
                <a:gd name="connsiteY3" fmla="*/ 89249 h 220313"/>
                <a:gd name="connsiteX4" fmla="*/ 38290 w 133350"/>
                <a:gd name="connsiteY4" fmla="*/ 33052 h 220313"/>
                <a:gd name="connsiteX5" fmla="*/ 130111 w 133350"/>
                <a:gd name="connsiteY5" fmla="*/ 33052 h 220313"/>
                <a:gd name="connsiteX6" fmla="*/ 130111 w 133350"/>
                <a:gd name="connsiteY6" fmla="*/ 0 h 220313"/>
                <a:gd name="connsiteX7" fmla="*/ 0 w 133350"/>
                <a:gd name="connsiteY7" fmla="*/ 0 h 220313"/>
                <a:gd name="connsiteX8" fmla="*/ 0 w 133350"/>
                <a:gd name="connsiteY8" fmla="*/ 220313 h 220313"/>
                <a:gd name="connsiteX9" fmla="*/ 133350 w 133350"/>
                <a:gd name="connsiteY9" fmla="*/ 220313 h 220313"/>
                <a:gd name="connsiteX10" fmla="*/ 133350 w 133350"/>
                <a:gd name="connsiteY10" fmla="*/ 187262 h 220313"/>
                <a:gd name="connsiteX11" fmla="*/ 38290 w 133350"/>
                <a:gd name="connsiteY11" fmla="*/ 187262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3350" h="220313">
                  <a:moveTo>
                    <a:pt x="38290" y="122301"/>
                  </a:moveTo>
                  <a:lnTo>
                    <a:pt x="115824" y="122301"/>
                  </a:lnTo>
                  <a:lnTo>
                    <a:pt x="115824" y="89249"/>
                  </a:lnTo>
                  <a:lnTo>
                    <a:pt x="38290" y="89249"/>
                  </a:lnTo>
                  <a:lnTo>
                    <a:pt x="38290" y="33052"/>
                  </a:lnTo>
                  <a:lnTo>
                    <a:pt x="130111" y="33052"/>
                  </a:lnTo>
                  <a:lnTo>
                    <a:pt x="130111" y="0"/>
                  </a:lnTo>
                  <a:lnTo>
                    <a:pt x="0" y="0"/>
                  </a:lnTo>
                  <a:lnTo>
                    <a:pt x="0" y="220313"/>
                  </a:lnTo>
                  <a:lnTo>
                    <a:pt x="133350" y="220313"/>
                  </a:lnTo>
                  <a:lnTo>
                    <a:pt x="133350" y="187262"/>
                  </a:lnTo>
                  <a:lnTo>
                    <a:pt x="38290" y="1872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0" name="Vrije vorm: vorm 19">
              <a:extLst>
                <a:ext uri="{FF2B5EF4-FFF2-40B4-BE49-F238E27FC236}">
                  <a16:creationId xmlns:a16="http://schemas.microsoft.com/office/drawing/2014/main" id="{64DFBFD3-F622-46EA-8605-C62E180C9815}"/>
                </a:ext>
              </a:extLst>
            </p:cNvPr>
            <p:cNvSpPr/>
            <p:nvPr/>
          </p:nvSpPr>
          <p:spPr>
            <a:xfrm>
              <a:off x="6403085" y="3315938"/>
              <a:ext cx="185546" cy="220313"/>
            </a:xfrm>
            <a:custGeom>
              <a:avLst/>
              <a:gdLst>
                <a:gd name="connsiteX0" fmla="*/ 70294 w 185546"/>
                <a:gd name="connsiteY0" fmla="*/ 0 h 220313"/>
                <a:gd name="connsiteX1" fmla="*/ 0 w 185546"/>
                <a:gd name="connsiteY1" fmla="*/ 220218 h 220313"/>
                <a:gd name="connsiteX2" fmla="*/ 38957 w 185546"/>
                <a:gd name="connsiteY2" fmla="*/ 220218 h 220313"/>
                <a:gd name="connsiteX3" fmla="*/ 55817 w 185546"/>
                <a:gd name="connsiteY3" fmla="*/ 160687 h 220313"/>
                <a:gd name="connsiteX4" fmla="*/ 128397 w 185546"/>
                <a:gd name="connsiteY4" fmla="*/ 160687 h 220313"/>
                <a:gd name="connsiteX5" fmla="*/ 145256 w 185546"/>
                <a:gd name="connsiteY5" fmla="*/ 220313 h 220313"/>
                <a:gd name="connsiteX6" fmla="*/ 185547 w 185546"/>
                <a:gd name="connsiteY6" fmla="*/ 220313 h 220313"/>
                <a:gd name="connsiteX7" fmla="*/ 115252 w 185546"/>
                <a:gd name="connsiteY7" fmla="*/ 95 h 220313"/>
                <a:gd name="connsiteX8" fmla="*/ 70294 w 185546"/>
                <a:gd name="connsiteY8" fmla="*/ 95 h 220313"/>
                <a:gd name="connsiteX9" fmla="*/ 64675 w 185546"/>
                <a:gd name="connsiteY9" fmla="*/ 130016 h 220313"/>
                <a:gd name="connsiteX10" fmla="*/ 72295 w 185546"/>
                <a:gd name="connsiteY10" fmla="*/ 103061 h 220313"/>
                <a:gd name="connsiteX11" fmla="*/ 91440 w 185546"/>
                <a:gd name="connsiteY11" fmla="*/ 30290 h 220313"/>
                <a:gd name="connsiteX12" fmla="*/ 92773 w 185546"/>
                <a:gd name="connsiteY12" fmla="*/ 30290 h 220313"/>
                <a:gd name="connsiteX13" fmla="*/ 112204 w 185546"/>
                <a:gd name="connsiteY13" fmla="*/ 103061 h 220313"/>
                <a:gd name="connsiteX14" fmla="*/ 119825 w 185546"/>
                <a:gd name="connsiteY14" fmla="*/ 130016 h 220313"/>
                <a:gd name="connsiteX15" fmla="*/ 64675 w 185546"/>
                <a:gd name="connsiteY15" fmla="*/ 130016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5546" h="220313">
                  <a:moveTo>
                    <a:pt x="70294" y="0"/>
                  </a:moveTo>
                  <a:lnTo>
                    <a:pt x="0" y="220218"/>
                  </a:lnTo>
                  <a:lnTo>
                    <a:pt x="38957" y="220218"/>
                  </a:lnTo>
                  <a:lnTo>
                    <a:pt x="55817" y="160687"/>
                  </a:lnTo>
                  <a:lnTo>
                    <a:pt x="128397" y="160687"/>
                  </a:lnTo>
                  <a:lnTo>
                    <a:pt x="145256" y="220313"/>
                  </a:lnTo>
                  <a:lnTo>
                    <a:pt x="185547" y="220313"/>
                  </a:lnTo>
                  <a:lnTo>
                    <a:pt x="115252" y="95"/>
                  </a:lnTo>
                  <a:lnTo>
                    <a:pt x="70294" y="95"/>
                  </a:lnTo>
                  <a:close/>
                  <a:moveTo>
                    <a:pt x="64675" y="130016"/>
                  </a:moveTo>
                  <a:lnTo>
                    <a:pt x="72295" y="103061"/>
                  </a:lnTo>
                  <a:cubicBezTo>
                    <a:pt x="79248" y="79820"/>
                    <a:pt x="85534" y="54864"/>
                    <a:pt x="91440" y="30290"/>
                  </a:cubicBezTo>
                  <a:lnTo>
                    <a:pt x="92773" y="30290"/>
                  </a:lnTo>
                  <a:cubicBezTo>
                    <a:pt x="99060" y="54578"/>
                    <a:pt x="105346" y="79820"/>
                    <a:pt x="112204" y="103061"/>
                  </a:cubicBezTo>
                  <a:lnTo>
                    <a:pt x="119825" y="130016"/>
                  </a:lnTo>
                  <a:lnTo>
                    <a:pt x="64675" y="1300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1" name="Vrije vorm: vorm 20">
              <a:extLst>
                <a:ext uri="{FF2B5EF4-FFF2-40B4-BE49-F238E27FC236}">
                  <a16:creationId xmlns:a16="http://schemas.microsoft.com/office/drawing/2014/main" id="{263DB2C3-D95B-44E2-8335-8A8F4B9CD3B1}"/>
                </a:ext>
              </a:extLst>
            </p:cNvPr>
            <p:cNvSpPr/>
            <p:nvPr/>
          </p:nvSpPr>
          <p:spPr>
            <a:xfrm>
              <a:off x="6668261" y="3314700"/>
              <a:ext cx="157733" cy="225456"/>
            </a:xfrm>
            <a:custGeom>
              <a:avLst/>
              <a:gdLst>
                <a:gd name="connsiteX0" fmla="*/ 91059 w 157733"/>
                <a:gd name="connsiteY0" fmla="*/ 127445 h 225456"/>
                <a:gd name="connsiteX1" fmla="*/ 143256 w 157733"/>
                <a:gd name="connsiteY1" fmla="*/ 127445 h 225456"/>
                <a:gd name="connsiteX2" fmla="*/ 143256 w 157733"/>
                <a:gd name="connsiteY2" fmla="*/ 195167 h 225456"/>
                <a:gd name="connsiteX3" fmla="*/ 122301 w 157733"/>
                <a:gd name="connsiteY3" fmla="*/ 207359 h 225456"/>
                <a:gd name="connsiteX4" fmla="*/ 94393 w 157733"/>
                <a:gd name="connsiteY4" fmla="*/ 211646 h 225456"/>
                <a:gd name="connsiteX5" fmla="*/ 61246 w 157733"/>
                <a:gd name="connsiteY5" fmla="*/ 204502 h 225456"/>
                <a:gd name="connsiteX6" fmla="*/ 36481 w 157733"/>
                <a:gd name="connsiteY6" fmla="*/ 184499 h 225456"/>
                <a:gd name="connsiteX7" fmla="*/ 21146 w 157733"/>
                <a:gd name="connsiteY7" fmla="*/ 153257 h 225456"/>
                <a:gd name="connsiteX8" fmla="*/ 15907 w 157733"/>
                <a:gd name="connsiteY8" fmla="*/ 112205 h 225456"/>
                <a:gd name="connsiteX9" fmla="*/ 21526 w 157733"/>
                <a:gd name="connsiteY9" fmla="*/ 71247 h 225456"/>
                <a:gd name="connsiteX10" fmla="*/ 37529 w 157733"/>
                <a:gd name="connsiteY10" fmla="*/ 40386 h 225456"/>
                <a:gd name="connsiteX11" fmla="*/ 62770 w 157733"/>
                <a:gd name="connsiteY11" fmla="*/ 20765 h 225456"/>
                <a:gd name="connsiteX12" fmla="*/ 96488 w 157733"/>
                <a:gd name="connsiteY12" fmla="*/ 13811 h 225456"/>
                <a:gd name="connsiteX13" fmla="*/ 126206 w 157733"/>
                <a:gd name="connsiteY13" fmla="*/ 20384 h 225456"/>
                <a:gd name="connsiteX14" fmla="*/ 146685 w 157733"/>
                <a:gd name="connsiteY14" fmla="*/ 36195 h 225456"/>
                <a:gd name="connsiteX15" fmla="*/ 155638 w 157733"/>
                <a:gd name="connsiteY15" fmla="*/ 26003 h 225456"/>
                <a:gd name="connsiteX16" fmla="*/ 145542 w 157733"/>
                <a:gd name="connsiteY16" fmla="*/ 16764 h 225456"/>
                <a:gd name="connsiteX17" fmla="*/ 132493 w 157733"/>
                <a:gd name="connsiteY17" fmla="*/ 8382 h 225456"/>
                <a:gd name="connsiteX18" fmla="*/ 116110 w 157733"/>
                <a:gd name="connsiteY18" fmla="*/ 2286 h 225456"/>
                <a:gd name="connsiteX19" fmla="*/ 96107 w 157733"/>
                <a:gd name="connsiteY19" fmla="*/ 0 h 225456"/>
                <a:gd name="connsiteX20" fmla="*/ 56769 w 157733"/>
                <a:gd name="connsiteY20" fmla="*/ 7715 h 225456"/>
                <a:gd name="connsiteX21" fmla="*/ 26384 w 157733"/>
                <a:gd name="connsiteY21" fmla="*/ 30194 h 225456"/>
                <a:gd name="connsiteX22" fmla="*/ 6953 w 157733"/>
                <a:gd name="connsiteY22" fmla="*/ 65723 h 225456"/>
                <a:gd name="connsiteX23" fmla="*/ 0 w 157733"/>
                <a:gd name="connsiteY23" fmla="*/ 112300 h 225456"/>
                <a:gd name="connsiteX24" fmla="*/ 6763 w 157733"/>
                <a:gd name="connsiteY24" fmla="*/ 159353 h 225456"/>
                <a:gd name="connsiteX25" fmla="*/ 25717 w 157733"/>
                <a:gd name="connsiteY25" fmla="*/ 194977 h 225456"/>
                <a:gd name="connsiteX26" fmla="*/ 55054 w 157733"/>
                <a:gd name="connsiteY26" fmla="*/ 217551 h 225456"/>
                <a:gd name="connsiteX27" fmla="*/ 93345 w 157733"/>
                <a:gd name="connsiteY27" fmla="*/ 225457 h 225456"/>
                <a:gd name="connsiteX28" fmla="*/ 131159 w 157733"/>
                <a:gd name="connsiteY28" fmla="*/ 218504 h 225456"/>
                <a:gd name="connsiteX29" fmla="*/ 157734 w 157733"/>
                <a:gd name="connsiteY29" fmla="*/ 200692 h 225456"/>
                <a:gd name="connsiteX30" fmla="*/ 157734 w 157733"/>
                <a:gd name="connsiteY30" fmla="*/ 114491 h 225456"/>
                <a:gd name="connsiteX31" fmla="*/ 91059 w 157733"/>
                <a:gd name="connsiteY31" fmla="*/ 114491 h 225456"/>
                <a:gd name="connsiteX32" fmla="*/ 91059 w 157733"/>
                <a:gd name="connsiteY32" fmla="*/ 127445 h 225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57733" h="225456">
                  <a:moveTo>
                    <a:pt x="91059" y="127445"/>
                  </a:moveTo>
                  <a:lnTo>
                    <a:pt x="143256" y="127445"/>
                  </a:lnTo>
                  <a:lnTo>
                    <a:pt x="143256" y="195167"/>
                  </a:lnTo>
                  <a:cubicBezTo>
                    <a:pt x="138017" y="200406"/>
                    <a:pt x="130969" y="204502"/>
                    <a:pt x="122301" y="207359"/>
                  </a:cubicBezTo>
                  <a:cubicBezTo>
                    <a:pt x="113633" y="210217"/>
                    <a:pt x="104299" y="211646"/>
                    <a:pt x="94393" y="211646"/>
                  </a:cubicBezTo>
                  <a:cubicBezTo>
                    <a:pt x="82105" y="211646"/>
                    <a:pt x="70961" y="209264"/>
                    <a:pt x="61246" y="204502"/>
                  </a:cubicBezTo>
                  <a:cubicBezTo>
                    <a:pt x="51435" y="199739"/>
                    <a:pt x="43243" y="193072"/>
                    <a:pt x="36481" y="184499"/>
                  </a:cubicBezTo>
                  <a:cubicBezTo>
                    <a:pt x="29718" y="175927"/>
                    <a:pt x="24670" y="165544"/>
                    <a:pt x="21146" y="153257"/>
                  </a:cubicBezTo>
                  <a:cubicBezTo>
                    <a:pt x="17621" y="141065"/>
                    <a:pt x="15907" y="127349"/>
                    <a:pt x="15907" y="112205"/>
                  </a:cubicBezTo>
                  <a:cubicBezTo>
                    <a:pt x="15907" y="97060"/>
                    <a:pt x="17812" y="83344"/>
                    <a:pt x="21526" y="71247"/>
                  </a:cubicBezTo>
                  <a:cubicBezTo>
                    <a:pt x="25241" y="59150"/>
                    <a:pt x="30575" y="48863"/>
                    <a:pt x="37529" y="40386"/>
                  </a:cubicBezTo>
                  <a:cubicBezTo>
                    <a:pt x="44482" y="31909"/>
                    <a:pt x="52864" y="25337"/>
                    <a:pt x="62770" y="20765"/>
                  </a:cubicBezTo>
                  <a:cubicBezTo>
                    <a:pt x="72676" y="16097"/>
                    <a:pt x="83915" y="13811"/>
                    <a:pt x="96488" y="13811"/>
                  </a:cubicBezTo>
                  <a:cubicBezTo>
                    <a:pt x="108395" y="13811"/>
                    <a:pt x="118300" y="16002"/>
                    <a:pt x="126206" y="20384"/>
                  </a:cubicBezTo>
                  <a:cubicBezTo>
                    <a:pt x="134112" y="24765"/>
                    <a:pt x="140970" y="30099"/>
                    <a:pt x="146685" y="36195"/>
                  </a:cubicBezTo>
                  <a:lnTo>
                    <a:pt x="155638" y="26003"/>
                  </a:lnTo>
                  <a:cubicBezTo>
                    <a:pt x="152781" y="22955"/>
                    <a:pt x="149447" y="19812"/>
                    <a:pt x="145542" y="16764"/>
                  </a:cubicBezTo>
                  <a:cubicBezTo>
                    <a:pt x="141637" y="13716"/>
                    <a:pt x="137350" y="10859"/>
                    <a:pt x="132493" y="8382"/>
                  </a:cubicBezTo>
                  <a:cubicBezTo>
                    <a:pt x="127635" y="5810"/>
                    <a:pt x="122206" y="3810"/>
                    <a:pt x="116110" y="2286"/>
                  </a:cubicBezTo>
                  <a:cubicBezTo>
                    <a:pt x="110014" y="762"/>
                    <a:pt x="103442" y="0"/>
                    <a:pt x="96107" y="0"/>
                  </a:cubicBezTo>
                  <a:cubicBezTo>
                    <a:pt x="81820" y="0"/>
                    <a:pt x="68675" y="2572"/>
                    <a:pt x="56769" y="7715"/>
                  </a:cubicBezTo>
                  <a:cubicBezTo>
                    <a:pt x="44863" y="12859"/>
                    <a:pt x="34766" y="20384"/>
                    <a:pt x="26384" y="30194"/>
                  </a:cubicBezTo>
                  <a:cubicBezTo>
                    <a:pt x="18002" y="40005"/>
                    <a:pt x="11525" y="51816"/>
                    <a:pt x="6953" y="65723"/>
                  </a:cubicBezTo>
                  <a:cubicBezTo>
                    <a:pt x="2381" y="79629"/>
                    <a:pt x="0" y="95059"/>
                    <a:pt x="0" y="112300"/>
                  </a:cubicBezTo>
                  <a:cubicBezTo>
                    <a:pt x="0" y="129731"/>
                    <a:pt x="2286" y="145352"/>
                    <a:pt x="6763" y="159353"/>
                  </a:cubicBezTo>
                  <a:cubicBezTo>
                    <a:pt x="11239" y="173355"/>
                    <a:pt x="17621" y="185261"/>
                    <a:pt x="25717" y="194977"/>
                  </a:cubicBezTo>
                  <a:cubicBezTo>
                    <a:pt x="33814" y="204788"/>
                    <a:pt x="43625" y="212312"/>
                    <a:pt x="55054" y="217551"/>
                  </a:cubicBezTo>
                  <a:cubicBezTo>
                    <a:pt x="66484" y="222790"/>
                    <a:pt x="79248" y="225457"/>
                    <a:pt x="93345" y="225457"/>
                  </a:cubicBezTo>
                  <a:cubicBezTo>
                    <a:pt x="107633" y="225457"/>
                    <a:pt x="120205" y="223171"/>
                    <a:pt x="131159" y="218504"/>
                  </a:cubicBezTo>
                  <a:cubicBezTo>
                    <a:pt x="142018" y="213836"/>
                    <a:pt x="150876" y="207931"/>
                    <a:pt x="157734" y="200692"/>
                  </a:cubicBezTo>
                  <a:lnTo>
                    <a:pt x="157734" y="114491"/>
                  </a:lnTo>
                  <a:lnTo>
                    <a:pt x="91059" y="114491"/>
                  </a:lnTo>
                  <a:lnTo>
                    <a:pt x="91059" y="1274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2" name="Vrije vorm: vorm 21">
              <a:extLst>
                <a:ext uri="{FF2B5EF4-FFF2-40B4-BE49-F238E27FC236}">
                  <a16:creationId xmlns:a16="http://schemas.microsoft.com/office/drawing/2014/main" id="{F352A17B-7AC1-4A99-AD87-A407C40B6AF2}"/>
                </a:ext>
              </a:extLst>
            </p:cNvPr>
            <p:cNvSpPr/>
            <p:nvPr/>
          </p:nvSpPr>
          <p:spPr>
            <a:xfrm>
              <a:off x="6884764" y="3318605"/>
              <a:ext cx="137922" cy="217551"/>
            </a:xfrm>
            <a:custGeom>
              <a:avLst/>
              <a:gdLst>
                <a:gd name="connsiteX0" fmla="*/ 118681 w 137922"/>
                <a:gd name="connsiteY0" fmla="*/ 98393 h 217551"/>
                <a:gd name="connsiteX1" fmla="*/ 133731 w 137922"/>
                <a:gd name="connsiteY1" fmla="*/ 57436 h 217551"/>
                <a:gd name="connsiteX2" fmla="*/ 128588 w 137922"/>
                <a:gd name="connsiteY2" fmla="*/ 31052 h 217551"/>
                <a:gd name="connsiteX3" fmla="*/ 114205 w 137922"/>
                <a:gd name="connsiteY3" fmla="*/ 13240 h 217551"/>
                <a:gd name="connsiteX4" fmla="*/ 91726 w 137922"/>
                <a:gd name="connsiteY4" fmla="*/ 3143 h 217551"/>
                <a:gd name="connsiteX5" fmla="*/ 62389 w 137922"/>
                <a:gd name="connsiteY5" fmla="*/ 0 h 217551"/>
                <a:gd name="connsiteX6" fmla="*/ 0 w 137922"/>
                <a:gd name="connsiteY6" fmla="*/ 0 h 217551"/>
                <a:gd name="connsiteX7" fmla="*/ 0 w 137922"/>
                <a:gd name="connsiteY7" fmla="*/ 217551 h 217551"/>
                <a:gd name="connsiteX8" fmla="*/ 15145 w 137922"/>
                <a:gd name="connsiteY8" fmla="*/ 217551 h 217551"/>
                <a:gd name="connsiteX9" fmla="*/ 15145 w 137922"/>
                <a:gd name="connsiteY9" fmla="*/ 117539 h 217551"/>
                <a:gd name="connsiteX10" fmla="*/ 61341 w 137922"/>
                <a:gd name="connsiteY10" fmla="*/ 117539 h 217551"/>
                <a:gd name="connsiteX11" fmla="*/ 120396 w 137922"/>
                <a:gd name="connsiteY11" fmla="*/ 217551 h 217551"/>
                <a:gd name="connsiteX12" fmla="*/ 137922 w 137922"/>
                <a:gd name="connsiteY12" fmla="*/ 217551 h 217551"/>
                <a:gd name="connsiteX13" fmla="*/ 77819 w 137922"/>
                <a:gd name="connsiteY13" fmla="*/ 116491 h 217551"/>
                <a:gd name="connsiteX14" fmla="*/ 118681 w 137922"/>
                <a:gd name="connsiteY14" fmla="*/ 98393 h 217551"/>
                <a:gd name="connsiteX15" fmla="*/ 58388 w 137922"/>
                <a:gd name="connsiteY15" fmla="*/ 105061 h 217551"/>
                <a:gd name="connsiteX16" fmla="*/ 15145 w 137922"/>
                <a:gd name="connsiteY16" fmla="*/ 105061 h 217551"/>
                <a:gd name="connsiteX17" fmla="*/ 15145 w 137922"/>
                <a:gd name="connsiteY17" fmla="*/ 12954 h 217551"/>
                <a:gd name="connsiteX18" fmla="*/ 58388 w 137922"/>
                <a:gd name="connsiteY18" fmla="*/ 12954 h 217551"/>
                <a:gd name="connsiteX19" fmla="*/ 102584 w 137922"/>
                <a:gd name="connsiteY19" fmla="*/ 23051 h 217551"/>
                <a:gd name="connsiteX20" fmla="*/ 118110 w 137922"/>
                <a:gd name="connsiteY20" fmla="*/ 57531 h 217551"/>
                <a:gd name="connsiteX21" fmla="*/ 102775 w 137922"/>
                <a:gd name="connsiteY21" fmla="*/ 93345 h 217551"/>
                <a:gd name="connsiteX22" fmla="*/ 58388 w 137922"/>
                <a:gd name="connsiteY22" fmla="*/ 105061 h 217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7922" h="217551">
                  <a:moveTo>
                    <a:pt x="118681" y="98393"/>
                  </a:moveTo>
                  <a:cubicBezTo>
                    <a:pt x="128683" y="88487"/>
                    <a:pt x="133731" y="74867"/>
                    <a:pt x="133731" y="57436"/>
                  </a:cubicBezTo>
                  <a:cubicBezTo>
                    <a:pt x="133731" y="47054"/>
                    <a:pt x="132017" y="38291"/>
                    <a:pt x="128588" y="31052"/>
                  </a:cubicBezTo>
                  <a:cubicBezTo>
                    <a:pt x="125159" y="23813"/>
                    <a:pt x="120396" y="17812"/>
                    <a:pt x="114205" y="13240"/>
                  </a:cubicBezTo>
                  <a:cubicBezTo>
                    <a:pt x="108013" y="8572"/>
                    <a:pt x="100584" y="5239"/>
                    <a:pt x="91726" y="3143"/>
                  </a:cubicBezTo>
                  <a:cubicBezTo>
                    <a:pt x="82963" y="1048"/>
                    <a:pt x="73152" y="0"/>
                    <a:pt x="62389" y="0"/>
                  </a:cubicBezTo>
                  <a:lnTo>
                    <a:pt x="0" y="0"/>
                  </a:lnTo>
                  <a:lnTo>
                    <a:pt x="0" y="217551"/>
                  </a:lnTo>
                  <a:lnTo>
                    <a:pt x="15145" y="217551"/>
                  </a:lnTo>
                  <a:lnTo>
                    <a:pt x="15145" y="117539"/>
                  </a:lnTo>
                  <a:lnTo>
                    <a:pt x="61341" y="117539"/>
                  </a:lnTo>
                  <a:lnTo>
                    <a:pt x="120396" y="217551"/>
                  </a:lnTo>
                  <a:lnTo>
                    <a:pt x="137922" y="217551"/>
                  </a:lnTo>
                  <a:lnTo>
                    <a:pt x="77819" y="116491"/>
                  </a:lnTo>
                  <a:cubicBezTo>
                    <a:pt x="95059" y="114395"/>
                    <a:pt x="108680" y="108299"/>
                    <a:pt x="118681" y="98393"/>
                  </a:cubicBezTo>
                  <a:close/>
                  <a:moveTo>
                    <a:pt x="58388" y="105061"/>
                  </a:moveTo>
                  <a:lnTo>
                    <a:pt x="15145" y="105061"/>
                  </a:lnTo>
                  <a:lnTo>
                    <a:pt x="15145" y="12954"/>
                  </a:lnTo>
                  <a:lnTo>
                    <a:pt x="58388" y="12954"/>
                  </a:lnTo>
                  <a:cubicBezTo>
                    <a:pt x="77533" y="12954"/>
                    <a:pt x="92297" y="16288"/>
                    <a:pt x="102584" y="23051"/>
                  </a:cubicBezTo>
                  <a:cubicBezTo>
                    <a:pt x="112967" y="29813"/>
                    <a:pt x="118110" y="41243"/>
                    <a:pt x="118110" y="57531"/>
                  </a:cubicBezTo>
                  <a:cubicBezTo>
                    <a:pt x="118110" y="73628"/>
                    <a:pt x="112967" y="85535"/>
                    <a:pt x="102775" y="93345"/>
                  </a:cubicBezTo>
                  <a:cubicBezTo>
                    <a:pt x="92583" y="101156"/>
                    <a:pt x="77724" y="105061"/>
                    <a:pt x="58388" y="1050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3" name="Vrije vorm: vorm 22">
              <a:extLst>
                <a:ext uri="{FF2B5EF4-FFF2-40B4-BE49-F238E27FC236}">
                  <a16:creationId xmlns:a16="http://schemas.microsoft.com/office/drawing/2014/main" id="{0D2708D0-079D-4686-8586-E7F95E24FF8F}"/>
                </a:ext>
              </a:extLst>
            </p:cNvPr>
            <p:cNvSpPr/>
            <p:nvPr/>
          </p:nvSpPr>
          <p:spPr>
            <a:xfrm>
              <a:off x="7053452" y="3314700"/>
              <a:ext cx="179165" cy="225456"/>
            </a:xfrm>
            <a:custGeom>
              <a:avLst/>
              <a:gdLst>
                <a:gd name="connsiteX0" fmla="*/ 154115 w 179165"/>
                <a:gd name="connsiteY0" fmla="*/ 30194 h 225456"/>
                <a:gd name="connsiteX1" fmla="*/ 125730 w 179165"/>
                <a:gd name="connsiteY1" fmla="*/ 7715 h 225456"/>
                <a:gd name="connsiteX2" fmla="*/ 89440 w 179165"/>
                <a:gd name="connsiteY2" fmla="*/ 0 h 225456"/>
                <a:gd name="connsiteX3" fmla="*/ 53435 w 179165"/>
                <a:gd name="connsiteY3" fmla="*/ 7715 h 225456"/>
                <a:gd name="connsiteX4" fmla="*/ 25051 w 179165"/>
                <a:gd name="connsiteY4" fmla="*/ 30194 h 225456"/>
                <a:gd name="connsiteX5" fmla="*/ 6572 w 179165"/>
                <a:gd name="connsiteY5" fmla="*/ 65532 h 225456"/>
                <a:gd name="connsiteX6" fmla="*/ 0 w 179165"/>
                <a:gd name="connsiteY6" fmla="*/ 111919 h 225456"/>
                <a:gd name="connsiteX7" fmla="*/ 6572 w 179165"/>
                <a:gd name="connsiteY7" fmla="*/ 158591 h 225456"/>
                <a:gd name="connsiteX8" fmla="*/ 25051 w 179165"/>
                <a:gd name="connsiteY8" fmla="*/ 194405 h 225456"/>
                <a:gd name="connsiteX9" fmla="*/ 53435 w 179165"/>
                <a:gd name="connsiteY9" fmla="*/ 217361 h 225456"/>
                <a:gd name="connsiteX10" fmla="*/ 89440 w 179165"/>
                <a:gd name="connsiteY10" fmla="*/ 225457 h 225456"/>
                <a:gd name="connsiteX11" fmla="*/ 125730 w 179165"/>
                <a:gd name="connsiteY11" fmla="*/ 217361 h 225456"/>
                <a:gd name="connsiteX12" fmla="*/ 154115 w 179165"/>
                <a:gd name="connsiteY12" fmla="*/ 194405 h 225456"/>
                <a:gd name="connsiteX13" fmla="*/ 172593 w 179165"/>
                <a:gd name="connsiteY13" fmla="*/ 158591 h 225456"/>
                <a:gd name="connsiteX14" fmla="*/ 179165 w 179165"/>
                <a:gd name="connsiteY14" fmla="*/ 111919 h 225456"/>
                <a:gd name="connsiteX15" fmla="*/ 172593 w 179165"/>
                <a:gd name="connsiteY15" fmla="*/ 65532 h 225456"/>
                <a:gd name="connsiteX16" fmla="*/ 154115 w 179165"/>
                <a:gd name="connsiteY16" fmla="*/ 30194 h 225456"/>
                <a:gd name="connsiteX17" fmla="*/ 157734 w 179165"/>
                <a:gd name="connsiteY17" fmla="*/ 152972 h 225456"/>
                <a:gd name="connsiteX18" fmla="*/ 142685 w 179165"/>
                <a:gd name="connsiteY18" fmla="*/ 184309 h 225456"/>
                <a:gd name="connsiteX19" fmla="*/ 119444 w 179165"/>
                <a:gd name="connsiteY19" fmla="*/ 204406 h 225456"/>
                <a:gd name="connsiteX20" fmla="*/ 89440 w 179165"/>
                <a:gd name="connsiteY20" fmla="*/ 211550 h 225456"/>
                <a:gd name="connsiteX21" fmla="*/ 59246 w 179165"/>
                <a:gd name="connsiteY21" fmla="*/ 204406 h 225456"/>
                <a:gd name="connsiteX22" fmla="*/ 36004 w 179165"/>
                <a:gd name="connsiteY22" fmla="*/ 184309 h 225456"/>
                <a:gd name="connsiteX23" fmla="*/ 21146 w 179165"/>
                <a:gd name="connsiteY23" fmla="*/ 152972 h 225456"/>
                <a:gd name="connsiteX24" fmla="*/ 15907 w 179165"/>
                <a:gd name="connsiteY24" fmla="*/ 111919 h 225456"/>
                <a:gd name="connsiteX25" fmla="*/ 21146 w 179165"/>
                <a:gd name="connsiteY25" fmla="*/ 71342 h 225456"/>
                <a:gd name="connsiteX26" fmla="*/ 36004 w 179165"/>
                <a:gd name="connsiteY26" fmla="*/ 40481 h 225456"/>
                <a:gd name="connsiteX27" fmla="*/ 59246 w 179165"/>
                <a:gd name="connsiteY27" fmla="*/ 20860 h 225456"/>
                <a:gd name="connsiteX28" fmla="*/ 89440 w 179165"/>
                <a:gd name="connsiteY28" fmla="*/ 13907 h 225456"/>
                <a:gd name="connsiteX29" fmla="*/ 119444 w 179165"/>
                <a:gd name="connsiteY29" fmla="*/ 20860 h 225456"/>
                <a:gd name="connsiteX30" fmla="*/ 142685 w 179165"/>
                <a:gd name="connsiteY30" fmla="*/ 40481 h 225456"/>
                <a:gd name="connsiteX31" fmla="*/ 157734 w 179165"/>
                <a:gd name="connsiteY31" fmla="*/ 71342 h 225456"/>
                <a:gd name="connsiteX32" fmla="*/ 162973 w 179165"/>
                <a:gd name="connsiteY32" fmla="*/ 111919 h 225456"/>
                <a:gd name="connsiteX33" fmla="*/ 157734 w 179165"/>
                <a:gd name="connsiteY33" fmla="*/ 152972 h 225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79165" h="225456">
                  <a:moveTo>
                    <a:pt x="154115" y="30194"/>
                  </a:moveTo>
                  <a:cubicBezTo>
                    <a:pt x="146209" y="20384"/>
                    <a:pt x="136684" y="12954"/>
                    <a:pt x="125730" y="7715"/>
                  </a:cubicBezTo>
                  <a:cubicBezTo>
                    <a:pt x="114776" y="2572"/>
                    <a:pt x="102679" y="0"/>
                    <a:pt x="89440" y="0"/>
                  </a:cubicBezTo>
                  <a:cubicBezTo>
                    <a:pt x="76486" y="0"/>
                    <a:pt x="64484" y="2572"/>
                    <a:pt x="53435" y="7715"/>
                  </a:cubicBezTo>
                  <a:cubicBezTo>
                    <a:pt x="42386" y="12859"/>
                    <a:pt x="32957" y="20384"/>
                    <a:pt x="25051" y="30194"/>
                  </a:cubicBezTo>
                  <a:cubicBezTo>
                    <a:pt x="17145" y="40005"/>
                    <a:pt x="10954" y="51816"/>
                    <a:pt x="6572" y="65532"/>
                  </a:cubicBezTo>
                  <a:cubicBezTo>
                    <a:pt x="2191" y="79248"/>
                    <a:pt x="0" y="94774"/>
                    <a:pt x="0" y="111919"/>
                  </a:cubicBezTo>
                  <a:cubicBezTo>
                    <a:pt x="0" y="129064"/>
                    <a:pt x="2191" y="144685"/>
                    <a:pt x="6572" y="158591"/>
                  </a:cubicBezTo>
                  <a:cubicBezTo>
                    <a:pt x="10954" y="172593"/>
                    <a:pt x="17145" y="184499"/>
                    <a:pt x="25051" y="194405"/>
                  </a:cubicBezTo>
                  <a:cubicBezTo>
                    <a:pt x="32957" y="204311"/>
                    <a:pt x="42482" y="211931"/>
                    <a:pt x="53435" y="217361"/>
                  </a:cubicBezTo>
                  <a:cubicBezTo>
                    <a:pt x="64389" y="222790"/>
                    <a:pt x="76486" y="225457"/>
                    <a:pt x="89440" y="225457"/>
                  </a:cubicBezTo>
                  <a:cubicBezTo>
                    <a:pt x="102679" y="225457"/>
                    <a:pt x="114776" y="222790"/>
                    <a:pt x="125730" y="217361"/>
                  </a:cubicBezTo>
                  <a:cubicBezTo>
                    <a:pt x="136779" y="211931"/>
                    <a:pt x="146209" y="204311"/>
                    <a:pt x="154115" y="194405"/>
                  </a:cubicBezTo>
                  <a:cubicBezTo>
                    <a:pt x="162020" y="184499"/>
                    <a:pt x="168212" y="172593"/>
                    <a:pt x="172593" y="158591"/>
                  </a:cubicBezTo>
                  <a:cubicBezTo>
                    <a:pt x="176975" y="144590"/>
                    <a:pt x="179165" y="129064"/>
                    <a:pt x="179165" y="111919"/>
                  </a:cubicBezTo>
                  <a:cubicBezTo>
                    <a:pt x="179165" y="94774"/>
                    <a:pt x="176975" y="79248"/>
                    <a:pt x="172593" y="65532"/>
                  </a:cubicBezTo>
                  <a:cubicBezTo>
                    <a:pt x="168212" y="51816"/>
                    <a:pt x="162116" y="40005"/>
                    <a:pt x="154115" y="30194"/>
                  </a:cubicBezTo>
                  <a:close/>
                  <a:moveTo>
                    <a:pt x="157734" y="152972"/>
                  </a:moveTo>
                  <a:cubicBezTo>
                    <a:pt x="154210" y="165164"/>
                    <a:pt x="149162" y="175641"/>
                    <a:pt x="142685" y="184309"/>
                  </a:cubicBezTo>
                  <a:cubicBezTo>
                    <a:pt x="136208" y="192977"/>
                    <a:pt x="128397" y="199739"/>
                    <a:pt x="119444" y="204406"/>
                  </a:cubicBezTo>
                  <a:cubicBezTo>
                    <a:pt x="110395" y="209169"/>
                    <a:pt x="100394" y="211550"/>
                    <a:pt x="89440" y="211550"/>
                  </a:cubicBezTo>
                  <a:cubicBezTo>
                    <a:pt x="78486" y="211550"/>
                    <a:pt x="68390" y="209169"/>
                    <a:pt x="59246" y="204406"/>
                  </a:cubicBezTo>
                  <a:cubicBezTo>
                    <a:pt x="50102" y="199644"/>
                    <a:pt x="42386" y="192977"/>
                    <a:pt x="36004" y="184309"/>
                  </a:cubicBezTo>
                  <a:cubicBezTo>
                    <a:pt x="29623" y="175641"/>
                    <a:pt x="24670" y="165164"/>
                    <a:pt x="21146" y="152972"/>
                  </a:cubicBezTo>
                  <a:cubicBezTo>
                    <a:pt x="17621" y="140780"/>
                    <a:pt x="15907" y="127064"/>
                    <a:pt x="15907" y="111919"/>
                  </a:cubicBezTo>
                  <a:cubicBezTo>
                    <a:pt x="15907" y="96965"/>
                    <a:pt x="17621" y="83439"/>
                    <a:pt x="21146" y="71342"/>
                  </a:cubicBezTo>
                  <a:cubicBezTo>
                    <a:pt x="24670" y="59245"/>
                    <a:pt x="29623" y="48959"/>
                    <a:pt x="36004" y="40481"/>
                  </a:cubicBezTo>
                  <a:cubicBezTo>
                    <a:pt x="42386" y="32004"/>
                    <a:pt x="50102" y="25432"/>
                    <a:pt x="59246" y="20860"/>
                  </a:cubicBezTo>
                  <a:cubicBezTo>
                    <a:pt x="68390" y="16193"/>
                    <a:pt x="78486" y="13907"/>
                    <a:pt x="89440" y="13907"/>
                  </a:cubicBezTo>
                  <a:cubicBezTo>
                    <a:pt x="100394" y="13907"/>
                    <a:pt x="110490" y="16193"/>
                    <a:pt x="119444" y="20860"/>
                  </a:cubicBezTo>
                  <a:cubicBezTo>
                    <a:pt x="128492" y="25432"/>
                    <a:pt x="136208" y="32004"/>
                    <a:pt x="142685" y="40481"/>
                  </a:cubicBezTo>
                  <a:cubicBezTo>
                    <a:pt x="149162" y="48959"/>
                    <a:pt x="154210" y="59245"/>
                    <a:pt x="157734" y="71342"/>
                  </a:cubicBezTo>
                  <a:cubicBezTo>
                    <a:pt x="161258" y="83439"/>
                    <a:pt x="162973" y="96965"/>
                    <a:pt x="162973" y="111919"/>
                  </a:cubicBezTo>
                  <a:cubicBezTo>
                    <a:pt x="163068" y="127064"/>
                    <a:pt x="161258" y="140780"/>
                    <a:pt x="157734" y="15297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4" name="Vrije vorm: vorm 23">
              <a:extLst>
                <a:ext uri="{FF2B5EF4-FFF2-40B4-BE49-F238E27FC236}">
                  <a16:creationId xmlns:a16="http://schemas.microsoft.com/office/drawing/2014/main" id="{ACE3BA96-6AAD-4EEF-BB39-A9E57BA0ED92}"/>
                </a:ext>
              </a:extLst>
            </p:cNvPr>
            <p:cNvSpPr/>
            <p:nvPr/>
          </p:nvSpPr>
          <p:spPr>
            <a:xfrm>
              <a:off x="7285386" y="3318700"/>
              <a:ext cx="146589" cy="221456"/>
            </a:xfrm>
            <a:custGeom>
              <a:avLst/>
              <a:gdLst>
                <a:gd name="connsiteX0" fmla="*/ 132207 w 146589"/>
                <a:gd name="connsiteY0" fmla="*/ 132302 h 221456"/>
                <a:gd name="connsiteX1" fmla="*/ 127254 w 146589"/>
                <a:gd name="connsiteY1" fmla="*/ 168402 h 221456"/>
                <a:gd name="connsiteX2" fmla="*/ 114205 w 146589"/>
                <a:gd name="connsiteY2" fmla="*/ 191548 h 221456"/>
                <a:gd name="connsiteX3" fmla="*/ 95345 w 146589"/>
                <a:gd name="connsiteY3" fmla="*/ 203930 h 221456"/>
                <a:gd name="connsiteX4" fmla="*/ 72771 w 146589"/>
                <a:gd name="connsiteY4" fmla="*/ 207550 h 221456"/>
                <a:gd name="connsiteX5" fmla="*/ 50863 w 146589"/>
                <a:gd name="connsiteY5" fmla="*/ 203930 h 221456"/>
                <a:gd name="connsiteX6" fmla="*/ 32576 w 146589"/>
                <a:gd name="connsiteY6" fmla="*/ 191548 h 221456"/>
                <a:gd name="connsiteX7" fmla="*/ 19907 w 146589"/>
                <a:gd name="connsiteY7" fmla="*/ 168402 h 221456"/>
                <a:gd name="connsiteX8" fmla="*/ 15145 w 146589"/>
                <a:gd name="connsiteY8" fmla="*/ 132302 h 221456"/>
                <a:gd name="connsiteX9" fmla="*/ 15145 w 146589"/>
                <a:gd name="connsiteY9" fmla="*/ 0 h 221456"/>
                <a:gd name="connsiteX10" fmla="*/ 0 w 146589"/>
                <a:gd name="connsiteY10" fmla="*/ 0 h 221456"/>
                <a:gd name="connsiteX11" fmla="*/ 0 w 146589"/>
                <a:gd name="connsiteY11" fmla="*/ 134017 h 221456"/>
                <a:gd name="connsiteX12" fmla="*/ 6096 w 146589"/>
                <a:gd name="connsiteY12" fmla="*/ 176308 h 221456"/>
                <a:gd name="connsiteX13" fmla="*/ 22479 w 146589"/>
                <a:gd name="connsiteY13" fmla="*/ 203168 h 221456"/>
                <a:gd name="connsiteX14" fmla="*/ 45911 w 146589"/>
                <a:gd name="connsiteY14" fmla="*/ 217361 h 221456"/>
                <a:gd name="connsiteX15" fmla="*/ 72962 w 146589"/>
                <a:gd name="connsiteY15" fmla="*/ 221456 h 221456"/>
                <a:gd name="connsiteX16" fmla="*/ 100394 w 146589"/>
                <a:gd name="connsiteY16" fmla="*/ 217361 h 221456"/>
                <a:gd name="connsiteX17" fmla="*/ 123825 w 146589"/>
                <a:gd name="connsiteY17" fmla="*/ 203168 h 221456"/>
                <a:gd name="connsiteX18" fmla="*/ 140303 w 146589"/>
                <a:gd name="connsiteY18" fmla="*/ 176308 h 221456"/>
                <a:gd name="connsiteX19" fmla="*/ 146590 w 146589"/>
                <a:gd name="connsiteY19" fmla="*/ 134017 h 221456"/>
                <a:gd name="connsiteX20" fmla="*/ 146590 w 146589"/>
                <a:gd name="connsiteY20" fmla="*/ 0 h 221456"/>
                <a:gd name="connsiteX21" fmla="*/ 132397 w 146589"/>
                <a:gd name="connsiteY21" fmla="*/ 0 h 221456"/>
                <a:gd name="connsiteX22" fmla="*/ 132397 w 146589"/>
                <a:gd name="connsiteY22" fmla="*/ 132302 h 22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6589" h="221456">
                  <a:moveTo>
                    <a:pt x="132207" y="132302"/>
                  </a:moveTo>
                  <a:cubicBezTo>
                    <a:pt x="132207" y="146780"/>
                    <a:pt x="130588" y="158877"/>
                    <a:pt x="127254" y="168402"/>
                  </a:cubicBezTo>
                  <a:cubicBezTo>
                    <a:pt x="123920" y="178022"/>
                    <a:pt x="119634" y="185642"/>
                    <a:pt x="114205" y="191548"/>
                  </a:cubicBezTo>
                  <a:cubicBezTo>
                    <a:pt x="108776" y="197358"/>
                    <a:pt x="102584" y="201549"/>
                    <a:pt x="95345" y="203930"/>
                  </a:cubicBezTo>
                  <a:cubicBezTo>
                    <a:pt x="88202" y="206312"/>
                    <a:pt x="80677" y="207550"/>
                    <a:pt x="72771" y="207550"/>
                  </a:cubicBezTo>
                  <a:cubicBezTo>
                    <a:pt x="65056" y="207550"/>
                    <a:pt x="57721" y="206312"/>
                    <a:pt x="50863" y="203930"/>
                  </a:cubicBezTo>
                  <a:cubicBezTo>
                    <a:pt x="43910" y="201549"/>
                    <a:pt x="37814" y="197358"/>
                    <a:pt x="32576" y="191548"/>
                  </a:cubicBezTo>
                  <a:cubicBezTo>
                    <a:pt x="27337" y="185738"/>
                    <a:pt x="23051" y="178022"/>
                    <a:pt x="19907" y="168402"/>
                  </a:cubicBezTo>
                  <a:cubicBezTo>
                    <a:pt x="16764" y="158877"/>
                    <a:pt x="15145" y="146780"/>
                    <a:pt x="15145" y="132302"/>
                  </a:cubicBezTo>
                  <a:lnTo>
                    <a:pt x="15145" y="0"/>
                  </a:lnTo>
                  <a:lnTo>
                    <a:pt x="0" y="0"/>
                  </a:lnTo>
                  <a:lnTo>
                    <a:pt x="0" y="134017"/>
                  </a:lnTo>
                  <a:cubicBezTo>
                    <a:pt x="0" y="150971"/>
                    <a:pt x="2000" y="165068"/>
                    <a:pt x="6096" y="176308"/>
                  </a:cubicBezTo>
                  <a:cubicBezTo>
                    <a:pt x="10192" y="187547"/>
                    <a:pt x="15621" y="196501"/>
                    <a:pt x="22479" y="203168"/>
                  </a:cubicBezTo>
                  <a:cubicBezTo>
                    <a:pt x="29337" y="209931"/>
                    <a:pt x="37147" y="214598"/>
                    <a:pt x="45911" y="217361"/>
                  </a:cubicBezTo>
                  <a:cubicBezTo>
                    <a:pt x="54673" y="220123"/>
                    <a:pt x="63722" y="221456"/>
                    <a:pt x="72962" y="221456"/>
                  </a:cubicBezTo>
                  <a:cubicBezTo>
                    <a:pt x="82391" y="221456"/>
                    <a:pt x="91535" y="220123"/>
                    <a:pt x="100394" y="217361"/>
                  </a:cubicBezTo>
                  <a:cubicBezTo>
                    <a:pt x="109156" y="214598"/>
                    <a:pt x="116967" y="209836"/>
                    <a:pt x="123825" y="203168"/>
                  </a:cubicBezTo>
                  <a:cubicBezTo>
                    <a:pt x="130683" y="196501"/>
                    <a:pt x="136112" y="187452"/>
                    <a:pt x="140303" y="176308"/>
                  </a:cubicBezTo>
                  <a:cubicBezTo>
                    <a:pt x="144494" y="165068"/>
                    <a:pt x="146590" y="150971"/>
                    <a:pt x="146590" y="134017"/>
                  </a:cubicBezTo>
                  <a:lnTo>
                    <a:pt x="146590" y="0"/>
                  </a:lnTo>
                  <a:lnTo>
                    <a:pt x="132397" y="0"/>
                  </a:lnTo>
                  <a:lnTo>
                    <a:pt x="132397" y="13230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5" name="Vrije vorm: vorm 24">
              <a:extLst>
                <a:ext uri="{FF2B5EF4-FFF2-40B4-BE49-F238E27FC236}">
                  <a16:creationId xmlns:a16="http://schemas.microsoft.com/office/drawing/2014/main" id="{C8C84D4C-1E2C-4661-8044-30B4F36FBCFC}"/>
                </a:ext>
              </a:extLst>
            </p:cNvPr>
            <p:cNvSpPr/>
            <p:nvPr/>
          </p:nvSpPr>
          <p:spPr>
            <a:xfrm>
              <a:off x="7498460" y="3318605"/>
              <a:ext cx="133731" cy="217551"/>
            </a:xfrm>
            <a:custGeom>
              <a:avLst/>
              <a:gdLst>
                <a:gd name="connsiteX0" fmla="*/ 128207 w 133731"/>
                <a:gd name="connsiteY0" fmla="*/ 32385 h 217551"/>
                <a:gd name="connsiteX1" fmla="*/ 112681 w 133731"/>
                <a:gd name="connsiteY1" fmla="*/ 13526 h 217551"/>
                <a:gd name="connsiteX2" fmla="*/ 87916 w 133731"/>
                <a:gd name="connsiteY2" fmla="*/ 3143 h 217551"/>
                <a:gd name="connsiteX3" fmla="*/ 54769 w 133731"/>
                <a:gd name="connsiteY3" fmla="*/ 0 h 217551"/>
                <a:gd name="connsiteX4" fmla="*/ 0 w 133731"/>
                <a:gd name="connsiteY4" fmla="*/ 0 h 217551"/>
                <a:gd name="connsiteX5" fmla="*/ 0 w 133731"/>
                <a:gd name="connsiteY5" fmla="*/ 217551 h 217551"/>
                <a:gd name="connsiteX6" fmla="*/ 15145 w 133731"/>
                <a:gd name="connsiteY6" fmla="*/ 217551 h 217551"/>
                <a:gd name="connsiteX7" fmla="*/ 15145 w 133731"/>
                <a:gd name="connsiteY7" fmla="*/ 124111 h 217551"/>
                <a:gd name="connsiteX8" fmla="*/ 56102 w 133731"/>
                <a:gd name="connsiteY8" fmla="*/ 124111 h 217551"/>
                <a:gd name="connsiteX9" fmla="*/ 113252 w 133731"/>
                <a:gd name="connsiteY9" fmla="*/ 108395 h 217551"/>
                <a:gd name="connsiteX10" fmla="*/ 133731 w 133731"/>
                <a:gd name="connsiteY10" fmla="*/ 60674 h 217551"/>
                <a:gd name="connsiteX11" fmla="*/ 128207 w 133731"/>
                <a:gd name="connsiteY11" fmla="*/ 32385 h 217551"/>
                <a:gd name="connsiteX12" fmla="*/ 102013 w 133731"/>
                <a:gd name="connsiteY12" fmla="*/ 99441 h 217551"/>
                <a:gd name="connsiteX13" fmla="*/ 52483 w 133731"/>
                <a:gd name="connsiteY13" fmla="*/ 111347 h 217551"/>
                <a:gd name="connsiteX14" fmla="*/ 15145 w 133731"/>
                <a:gd name="connsiteY14" fmla="*/ 111347 h 217551"/>
                <a:gd name="connsiteX15" fmla="*/ 15145 w 133731"/>
                <a:gd name="connsiteY15" fmla="*/ 12954 h 217551"/>
                <a:gd name="connsiteX16" fmla="*/ 51149 w 133731"/>
                <a:gd name="connsiteY16" fmla="*/ 12954 h 217551"/>
                <a:gd name="connsiteX17" fmla="*/ 101537 w 133731"/>
                <a:gd name="connsiteY17" fmla="*/ 23146 h 217551"/>
                <a:gd name="connsiteX18" fmla="*/ 118205 w 133731"/>
                <a:gd name="connsiteY18" fmla="*/ 60770 h 217551"/>
                <a:gd name="connsiteX19" fmla="*/ 102013 w 133731"/>
                <a:gd name="connsiteY19" fmla="*/ 99441 h 217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33731" h="217551">
                  <a:moveTo>
                    <a:pt x="128207" y="32385"/>
                  </a:moveTo>
                  <a:cubicBezTo>
                    <a:pt x="124587" y="24670"/>
                    <a:pt x="119444" y="18383"/>
                    <a:pt x="112681" y="13526"/>
                  </a:cubicBezTo>
                  <a:cubicBezTo>
                    <a:pt x="105918" y="8668"/>
                    <a:pt x="97727" y="5239"/>
                    <a:pt x="87916" y="3143"/>
                  </a:cubicBezTo>
                  <a:cubicBezTo>
                    <a:pt x="78105" y="1048"/>
                    <a:pt x="67056" y="0"/>
                    <a:pt x="54769" y="0"/>
                  </a:cubicBezTo>
                  <a:lnTo>
                    <a:pt x="0" y="0"/>
                  </a:lnTo>
                  <a:lnTo>
                    <a:pt x="0" y="217551"/>
                  </a:lnTo>
                  <a:lnTo>
                    <a:pt x="15145" y="217551"/>
                  </a:lnTo>
                  <a:lnTo>
                    <a:pt x="15145" y="124111"/>
                  </a:lnTo>
                  <a:lnTo>
                    <a:pt x="56102" y="124111"/>
                  </a:lnTo>
                  <a:cubicBezTo>
                    <a:pt x="80486" y="124111"/>
                    <a:pt x="99536" y="118872"/>
                    <a:pt x="113252" y="108395"/>
                  </a:cubicBezTo>
                  <a:cubicBezTo>
                    <a:pt x="126873" y="97917"/>
                    <a:pt x="133731" y="82010"/>
                    <a:pt x="133731" y="60674"/>
                  </a:cubicBezTo>
                  <a:cubicBezTo>
                    <a:pt x="133636" y="49530"/>
                    <a:pt x="131826" y="40100"/>
                    <a:pt x="128207" y="32385"/>
                  </a:cubicBezTo>
                  <a:close/>
                  <a:moveTo>
                    <a:pt x="102013" y="99441"/>
                  </a:moveTo>
                  <a:cubicBezTo>
                    <a:pt x="91250" y="107347"/>
                    <a:pt x="74676" y="111347"/>
                    <a:pt x="52483" y="111347"/>
                  </a:cubicBezTo>
                  <a:lnTo>
                    <a:pt x="15145" y="111347"/>
                  </a:lnTo>
                  <a:lnTo>
                    <a:pt x="15145" y="12954"/>
                  </a:lnTo>
                  <a:lnTo>
                    <a:pt x="51149" y="12954"/>
                  </a:lnTo>
                  <a:cubicBezTo>
                    <a:pt x="73628" y="12954"/>
                    <a:pt x="90392" y="16383"/>
                    <a:pt x="101537" y="23146"/>
                  </a:cubicBezTo>
                  <a:cubicBezTo>
                    <a:pt x="112681" y="30004"/>
                    <a:pt x="118205" y="42482"/>
                    <a:pt x="118205" y="60770"/>
                  </a:cubicBezTo>
                  <a:cubicBezTo>
                    <a:pt x="118110" y="78581"/>
                    <a:pt x="112776" y="91535"/>
                    <a:pt x="102013" y="9944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sp>
        <p:nvSpPr>
          <p:cNvPr id="31" name="Tekstvak 30">
            <a:extLst>
              <a:ext uri="{FF2B5EF4-FFF2-40B4-BE49-F238E27FC236}">
                <a16:creationId xmlns:a16="http://schemas.microsoft.com/office/drawing/2014/main" id="{E41D0B55-F8FD-46D3-977E-49D188D35C9D}"/>
              </a:ext>
            </a:extLst>
          </p:cNvPr>
          <p:cNvSpPr txBox="1"/>
          <p:nvPr userDrawn="1"/>
        </p:nvSpPr>
        <p:spPr>
          <a:xfrm>
            <a:off x="992515" y="3939479"/>
            <a:ext cx="1361313" cy="178683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en-GB" sz="1051">
                <a:solidFill>
                  <a:schemeClr val="bg1"/>
                </a:solidFill>
              </a:rPr>
              <a:t>BDR Thermea Group</a:t>
            </a:r>
          </a:p>
        </p:txBody>
      </p:sp>
      <p:sp>
        <p:nvSpPr>
          <p:cNvPr id="32" name="Tekstvak 31">
            <a:extLst>
              <a:ext uri="{FF2B5EF4-FFF2-40B4-BE49-F238E27FC236}">
                <a16:creationId xmlns:a16="http://schemas.microsoft.com/office/drawing/2014/main" id="{3FBEBED2-341F-41C4-B63F-4C630FC6CDEF}"/>
              </a:ext>
            </a:extLst>
          </p:cNvPr>
          <p:cNvSpPr txBox="1"/>
          <p:nvPr userDrawn="1"/>
        </p:nvSpPr>
        <p:spPr>
          <a:xfrm>
            <a:off x="992515" y="4125152"/>
            <a:ext cx="1361313" cy="178683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en-GB" sz="1051">
                <a:solidFill>
                  <a:schemeClr val="bg1"/>
                </a:solidFill>
              </a:rPr>
              <a:t>BDR Thermea Group</a:t>
            </a:r>
          </a:p>
        </p:txBody>
      </p:sp>
      <p:grpSp>
        <p:nvGrpSpPr>
          <p:cNvPr id="40" name="Groep 39">
            <a:extLst>
              <a:ext uri="{FF2B5EF4-FFF2-40B4-BE49-F238E27FC236}">
                <a16:creationId xmlns:a16="http://schemas.microsoft.com/office/drawing/2014/main" id="{0D009BA3-1D82-4F94-8904-EADF519CB869}"/>
              </a:ext>
            </a:extLst>
          </p:cNvPr>
          <p:cNvGrpSpPr/>
          <p:nvPr userDrawn="1"/>
        </p:nvGrpSpPr>
        <p:grpSpPr>
          <a:xfrm>
            <a:off x="912106" y="3975277"/>
            <a:ext cx="99927" cy="99927"/>
            <a:chOff x="912104" y="3975275"/>
            <a:chExt cx="99927" cy="99927"/>
          </a:xfrm>
        </p:grpSpPr>
        <p:sp>
          <p:nvSpPr>
            <p:cNvPr id="35" name="Rechthoek 34">
              <a:extLst>
                <a:ext uri="{FF2B5EF4-FFF2-40B4-BE49-F238E27FC236}">
                  <a16:creationId xmlns:a16="http://schemas.microsoft.com/office/drawing/2014/main" id="{B557E1CD-D596-4D8D-AC17-0B0C4FE1EC23}"/>
                </a:ext>
              </a:extLst>
            </p:cNvPr>
            <p:cNvSpPr/>
            <p:nvPr userDrawn="1"/>
          </p:nvSpPr>
          <p:spPr>
            <a:xfrm>
              <a:off x="912104" y="3975275"/>
              <a:ext cx="99927" cy="9992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pic>
          <p:nvPicPr>
            <p:cNvPr id="34" name="Graphic 33">
              <a:extLst>
                <a:ext uri="{FF2B5EF4-FFF2-40B4-BE49-F238E27FC236}">
                  <a16:creationId xmlns:a16="http://schemas.microsoft.com/office/drawing/2014/main" id="{8C94B010-85FE-4998-87BF-592015FD290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35564" y="3995804"/>
              <a:ext cx="60613" cy="60613"/>
            </a:xfrm>
            <a:prstGeom prst="rect">
              <a:avLst/>
            </a:prstGeom>
          </p:spPr>
        </p:pic>
      </p:grpSp>
      <p:grpSp>
        <p:nvGrpSpPr>
          <p:cNvPr id="39" name="Groep 38">
            <a:extLst>
              <a:ext uri="{FF2B5EF4-FFF2-40B4-BE49-F238E27FC236}">
                <a16:creationId xmlns:a16="http://schemas.microsoft.com/office/drawing/2014/main" id="{EF9644BC-EC10-4377-B8FA-74D47C2A0F5F}"/>
              </a:ext>
            </a:extLst>
          </p:cNvPr>
          <p:cNvGrpSpPr/>
          <p:nvPr userDrawn="1"/>
        </p:nvGrpSpPr>
        <p:grpSpPr>
          <a:xfrm>
            <a:off x="912106" y="4160937"/>
            <a:ext cx="99927" cy="99927"/>
            <a:chOff x="912104" y="4160935"/>
            <a:chExt cx="99927" cy="99927"/>
          </a:xfrm>
        </p:grpSpPr>
        <p:sp>
          <p:nvSpPr>
            <p:cNvPr id="36" name="Rechthoek 35">
              <a:extLst>
                <a:ext uri="{FF2B5EF4-FFF2-40B4-BE49-F238E27FC236}">
                  <a16:creationId xmlns:a16="http://schemas.microsoft.com/office/drawing/2014/main" id="{0813E2DC-4419-4136-A7D4-9B6A06051A30}"/>
                </a:ext>
              </a:extLst>
            </p:cNvPr>
            <p:cNvSpPr/>
            <p:nvPr userDrawn="1"/>
          </p:nvSpPr>
          <p:spPr>
            <a:xfrm>
              <a:off x="912104" y="4160935"/>
              <a:ext cx="99927" cy="9992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33AB8F9D-6F6E-4C5A-9E13-E4B0C840D2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31545" y="4179068"/>
              <a:ext cx="61042" cy="61042"/>
            </a:xfrm>
            <a:prstGeom prst="rect">
              <a:avLst/>
            </a:prstGeom>
          </p:spPr>
        </p:pic>
      </p:grpSp>
      <p:sp>
        <p:nvSpPr>
          <p:cNvPr id="30" name="Tijdelijke aanduiding voor dianummer 4">
            <a:extLst>
              <a:ext uri="{FF2B5EF4-FFF2-40B4-BE49-F238E27FC236}">
                <a16:creationId xmlns:a16="http://schemas.microsoft.com/office/drawing/2014/main" id="{E41DEA24-54B4-4264-9CF4-717739DF89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681" y="6274118"/>
            <a:ext cx="44204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2" name="Rechthoek 1">
            <a:extLst>
              <a:ext uri="{FF2B5EF4-FFF2-40B4-BE49-F238E27FC236}">
                <a16:creationId xmlns:a16="http://schemas.microsoft.com/office/drawing/2014/main" id="{2E235543-795A-45F6-BA52-626806E7D4A6}"/>
              </a:ext>
            </a:extLst>
          </p:cNvPr>
          <p:cNvSpPr/>
          <p:nvPr userDrawn="1"/>
        </p:nvSpPr>
        <p:spPr>
          <a:xfrm>
            <a:off x="912105" y="2582684"/>
            <a:ext cx="1690777" cy="118181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 indent="0" defTabSz="71912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</a:pPr>
            <a:r>
              <a:rPr lang="en-GB" sz="1051" err="1">
                <a:solidFill>
                  <a:schemeClr val="bg1"/>
                </a:solidFill>
              </a:rPr>
              <a:t>Kanaal</a:t>
            </a:r>
            <a:r>
              <a:rPr lang="en-GB" sz="1051">
                <a:solidFill>
                  <a:schemeClr val="bg1"/>
                </a:solidFill>
              </a:rPr>
              <a:t> Zuid 106</a:t>
            </a:r>
          </a:p>
          <a:p>
            <a:pPr lvl="0" indent="0" defTabSz="71912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</a:pPr>
            <a:r>
              <a:rPr lang="en-GB" sz="1051">
                <a:solidFill>
                  <a:schemeClr val="bg1"/>
                </a:solidFill>
              </a:rPr>
              <a:t>7332 BD Apeldoorn</a:t>
            </a:r>
          </a:p>
          <a:p>
            <a:pPr lvl="0" indent="0" defTabSz="71912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</a:pPr>
            <a:r>
              <a:rPr lang="en-GB" sz="1051">
                <a:solidFill>
                  <a:schemeClr val="bg1"/>
                </a:solidFill>
              </a:rPr>
              <a:t>The Netherlands</a:t>
            </a:r>
          </a:p>
          <a:p>
            <a:pPr lvl="0" indent="0" defTabSz="71912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</a:pPr>
            <a:endParaRPr lang="en-GB" sz="1051">
              <a:solidFill>
                <a:schemeClr val="bg1"/>
              </a:solidFill>
            </a:endParaRPr>
          </a:p>
          <a:p>
            <a:pPr lvl="0" indent="0" defTabSz="71912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</a:pPr>
            <a:r>
              <a:rPr lang="en-GB" sz="1051">
                <a:solidFill>
                  <a:schemeClr val="bg1"/>
                </a:solidFill>
              </a:rPr>
              <a:t>P.O. Box 484</a:t>
            </a:r>
          </a:p>
          <a:p>
            <a:pPr lvl="0" indent="0" defTabSz="71912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</a:pPr>
            <a:r>
              <a:rPr lang="en-GB" sz="1051">
                <a:solidFill>
                  <a:schemeClr val="bg1"/>
                </a:solidFill>
              </a:rPr>
              <a:t>7300 AL Apeldoorn</a:t>
            </a:r>
          </a:p>
          <a:p>
            <a:pPr lvl="0" indent="0" defTabSz="71912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</a:pPr>
            <a:r>
              <a:rPr lang="en-GB" sz="1051">
                <a:solidFill>
                  <a:schemeClr val="bg1"/>
                </a:solidFill>
              </a:rPr>
              <a:t>The Netherlands</a:t>
            </a:r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26F9FD8A-E3B9-4120-9654-3DA9068A5709}"/>
              </a:ext>
            </a:extLst>
          </p:cNvPr>
          <p:cNvSpPr/>
          <p:nvPr userDrawn="1"/>
        </p:nvSpPr>
        <p:spPr>
          <a:xfrm>
            <a:off x="912105" y="2274105"/>
            <a:ext cx="966159" cy="3105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 indent="0" defTabSz="71912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</a:pPr>
            <a:r>
              <a:rPr lang="en-GB" sz="1051" b="1">
                <a:solidFill>
                  <a:schemeClr val="bg1"/>
                </a:solidFill>
              </a:rPr>
              <a:t>Head Office</a:t>
            </a:r>
          </a:p>
        </p:txBody>
      </p:sp>
    </p:spTree>
    <p:extLst>
      <p:ext uri="{BB962C8B-B14F-4D97-AF65-F5344CB8AC3E}">
        <p14:creationId xmlns:p14="http://schemas.microsoft.com/office/powerpoint/2010/main" val="3564297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ur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ijdelijke aanduiding voor afbeelding 8">
            <a:extLst>
              <a:ext uri="{FF2B5EF4-FFF2-40B4-BE49-F238E27FC236}">
                <a16:creationId xmlns:a16="http://schemas.microsoft.com/office/drawing/2014/main" id="{A8AB96D0-8848-45C3-915C-A276917B390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5376" y="1434"/>
            <a:ext cx="12202751" cy="685656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/>
              <a:t>Click the icon below </a:t>
            </a:r>
            <a:br>
              <a:rPr lang="en-GB"/>
            </a:br>
            <a:r>
              <a:rPr lang="en-GB"/>
              <a:t>to add an image.</a:t>
            </a:r>
            <a:br>
              <a:rPr lang="en-GB"/>
            </a:br>
            <a:br>
              <a:rPr lang="en-GB"/>
            </a:br>
            <a:r>
              <a:rPr lang="en-GB"/>
              <a:t>Need additional help?</a:t>
            </a:r>
            <a:br>
              <a:rPr lang="en-GB"/>
            </a:br>
            <a:r>
              <a:rPr lang="en-GB"/>
              <a:t>To the side of the slides we’ve placed extra</a:t>
            </a:r>
            <a:br>
              <a:rPr lang="en-GB"/>
            </a:br>
            <a:r>
              <a:rPr lang="en-GB"/>
              <a:t> instructions how to process content. </a:t>
            </a:r>
          </a:p>
        </p:txBody>
      </p:sp>
      <p:sp>
        <p:nvSpPr>
          <p:cNvPr id="20" name="Tijdelijke aanduiding voor tekst 19">
            <a:extLst>
              <a:ext uri="{FF2B5EF4-FFF2-40B4-BE49-F238E27FC236}">
                <a16:creationId xmlns:a16="http://schemas.microsoft.com/office/drawing/2014/main" id="{9884E09B-B1D9-42DF-89AB-4BEC37641F3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27706" y="676773"/>
            <a:ext cx="6969863" cy="5861627"/>
          </a:xfrm>
          <a:custGeom>
            <a:avLst/>
            <a:gdLst>
              <a:gd name="connsiteX0" fmla="*/ 5160349 w 6969863"/>
              <a:gd name="connsiteY0" fmla="*/ 201 h 5861627"/>
              <a:gd name="connsiteX1" fmla="*/ 5295282 w 6969863"/>
              <a:gd name="connsiteY1" fmla="*/ 72996 h 5861627"/>
              <a:gd name="connsiteX2" fmla="*/ 6949743 w 6969863"/>
              <a:gd name="connsiteY2" fmla="*/ 2905615 h 5861627"/>
              <a:gd name="connsiteX3" fmla="*/ 6896826 w 6969863"/>
              <a:gd name="connsiteY3" fmla="*/ 3107150 h 5861627"/>
              <a:gd name="connsiteX4" fmla="*/ 2216388 w 6969863"/>
              <a:gd name="connsiteY4" fmla="*/ 5841451 h 5861627"/>
              <a:gd name="connsiteX5" fmla="*/ 2014624 w 6969863"/>
              <a:gd name="connsiteY5" fmla="*/ 5788279 h 5861627"/>
              <a:gd name="connsiteX6" fmla="*/ 1128857 w 6969863"/>
              <a:gd name="connsiteY6" fmla="*/ 4264233 h 5861627"/>
              <a:gd name="connsiteX7" fmla="*/ 2174 w 6969863"/>
              <a:gd name="connsiteY7" fmla="*/ 599279 h 5861627"/>
              <a:gd name="connsiteX8" fmla="*/ 10 w 6969863"/>
              <a:gd name="connsiteY8" fmla="*/ 406785 h 5861627"/>
              <a:gd name="connsiteX9" fmla="*/ 142755 w 6969863"/>
              <a:gd name="connsiteY9" fmla="*/ 257749 h 5861627"/>
              <a:gd name="connsiteX10" fmla="*/ 332447 w 6969863"/>
              <a:gd name="connsiteY10" fmla="*/ 251786 h 58616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969863" h="5861627">
                <a:moveTo>
                  <a:pt x="5160349" y="201"/>
                </a:moveTo>
                <a:cubicBezTo>
                  <a:pt x="5215431" y="-2672"/>
                  <a:pt x="5267428" y="25450"/>
                  <a:pt x="5295282" y="72996"/>
                </a:cubicBezTo>
                <a:lnTo>
                  <a:pt x="6949743" y="2905615"/>
                </a:lnTo>
                <a:cubicBezTo>
                  <a:pt x="6990770" y="2975841"/>
                  <a:pt x="6967052" y="3066122"/>
                  <a:pt x="6896826" y="3107150"/>
                </a:cubicBezTo>
                <a:lnTo>
                  <a:pt x="2216388" y="5841451"/>
                </a:lnTo>
                <a:cubicBezTo>
                  <a:pt x="2145992" y="5882632"/>
                  <a:pt x="2055556" y="5858743"/>
                  <a:pt x="2014624" y="5788279"/>
                </a:cubicBezTo>
                <a:lnTo>
                  <a:pt x="1128857" y="4264233"/>
                </a:lnTo>
                <a:cubicBezTo>
                  <a:pt x="384147" y="2998055"/>
                  <a:pt x="14734" y="1768504"/>
                  <a:pt x="2174" y="599279"/>
                </a:cubicBezTo>
                <a:lnTo>
                  <a:pt x="10" y="406785"/>
                </a:lnTo>
                <a:cubicBezTo>
                  <a:pt x="-893" y="326491"/>
                  <a:pt x="62539" y="260279"/>
                  <a:pt x="142755" y="257749"/>
                </a:cubicBezTo>
                <a:lnTo>
                  <a:pt x="332447" y="25178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3" name="Titel 5">
            <a:extLst>
              <a:ext uri="{FF2B5EF4-FFF2-40B4-BE49-F238E27FC236}">
                <a16:creationId xmlns:a16="http://schemas.microsoft.com/office/drawing/2014/main" id="{EE39DDA7-921D-4256-A30C-B0B1FE7EAB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6823" y="2179631"/>
            <a:ext cx="3890852" cy="1068395"/>
          </a:xfrm>
        </p:spPr>
        <p:txBody>
          <a:bodyPr/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GB" noProof="0"/>
              <a:t>Template </a:t>
            </a:r>
            <a:br>
              <a:rPr lang="en-GB" noProof="0"/>
            </a:br>
            <a:r>
              <a:rPr lang="en-GB" noProof="0"/>
              <a:t>for a short title</a:t>
            </a:r>
            <a:endParaRPr lang="en-GB"/>
          </a:p>
        </p:txBody>
      </p:sp>
      <p:sp>
        <p:nvSpPr>
          <p:cNvPr id="15" name="Tijdelijke aanduiding voor verticale tekst 2">
            <a:extLst>
              <a:ext uri="{FF2B5EF4-FFF2-40B4-BE49-F238E27FC236}">
                <a16:creationId xmlns:a16="http://schemas.microsoft.com/office/drawing/2014/main" id="{6AD5D99D-20DD-4C09-B9C7-9F30D637954C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4167095" y="3905370"/>
            <a:ext cx="2872061" cy="800121"/>
          </a:xfrm>
        </p:spPr>
        <p:txBody>
          <a:bodyPr vert="horz" lIns="0" tIns="0" rIns="0" bIns="0"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2"/>
                </a:solidFill>
              </a:defRPr>
            </a:lvl1pPr>
            <a:lvl2pPr marL="217483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Place your info here</a:t>
            </a:r>
          </a:p>
        </p:txBody>
      </p:sp>
      <p:sp>
        <p:nvSpPr>
          <p:cNvPr id="17" name="Tijdelijke aanduiding voor tekst 19">
            <a:extLst>
              <a:ext uri="{FF2B5EF4-FFF2-40B4-BE49-F238E27FC236}">
                <a16:creationId xmlns:a16="http://schemas.microsoft.com/office/drawing/2014/main" id="{57165869-05DA-4A5C-B326-CE4ED7D95B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83580" y="1769551"/>
            <a:ext cx="1840072" cy="164379"/>
          </a:xfrm>
          <a:prstGeom prst="rect">
            <a:avLst/>
          </a:prstGeom>
          <a:blipFill>
            <a:blip r:embed="rId2"/>
            <a:srcRect/>
            <a:stretch>
              <a:fillRect t="10141" b="7644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8" name="Tijdelijke aanduiding voor verticale tekst 2">
            <a:extLst>
              <a:ext uri="{FF2B5EF4-FFF2-40B4-BE49-F238E27FC236}">
                <a16:creationId xmlns:a16="http://schemas.microsoft.com/office/drawing/2014/main" id="{0F32F0C8-26CC-46EF-8D20-54B4A419224C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4167095" y="3618816"/>
            <a:ext cx="2872061" cy="286555"/>
          </a:xfrm>
        </p:spPr>
        <p:txBody>
          <a:bodyPr vert="horz" lIns="0" tIns="0" rIns="0" b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5"/>
                </a:solidFill>
              </a:defRPr>
            </a:lvl1pPr>
            <a:lvl2pPr marL="217483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Name speaker</a:t>
            </a:r>
          </a:p>
        </p:txBody>
      </p:sp>
      <p:sp>
        <p:nvSpPr>
          <p:cNvPr id="9" name="Tijdelijke aanduiding voor dianummer 4">
            <a:extLst>
              <a:ext uri="{FF2B5EF4-FFF2-40B4-BE49-F238E27FC236}">
                <a16:creationId xmlns:a16="http://schemas.microsoft.com/office/drawing/2014/main" id="{95883B6D-BB67-4DC5-AF47-77914C19FB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681" y="6274118"/>
            <a:ext cx="44204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9695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ur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ijdelijke aanduiding voor afbeelding 8">
            <a:extLst>
              <a:ext uri="{FF2B5EF4-FFF2-40B4-BE49-F238E27FC236}">
                <a16:creationId xmlns:a16="http://schemas.microsoft.com/office/drawing/2014/main" id="{A8AB96D0-8848-45C3-915C-A276917B390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5376" y="1434"/>
            <a:ext cx="12202751" cy="685656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/>
              <a:t>Click the icon below </a:t>
            </a:r>
            <a:br>
              <a:rPr lang="en-GB"/>
            </a:br>
            <a:r>
              <a:rPr lang="en-GB"/>
              <a:t>to add an image.</a:t>
            </a:r>
            <a:br>
              <a:rPr lang="en-GB"/>
            </a:br>
            <a:br>
              <a:rPr lang="en-GB"/>
            </a:br>
            <a:r>
              <a:rPr lang="en-GB"/>
              <a:t>Need additional help?</a:t>
            </a:r>
            <a:br>
              <a:rPr lang="en-GB"/>
            </a:br>
            <a:r>
              <a:rPr lang="en-GB"/>
              <a:t>To the side of the slides we’ve placed extra</a:t>
            </a:r>
            <a:br>
              <a:rPr lang="en-GB"/>
            </a:br>
            <a:r>
              <a:rPr lang="en-GB"/>
              <a:t> instructions how to process content. </a:t>
            </a:r>
          </a:p>
        </p:txBody>
      </p:sp>
      <p:sp>
        <p:nvSpPr>
          <p:cNvPr id="19" name="Tijdelijke aanduiding voor tekst 18">
            <a:extLst>
              <a:ext uri="{FF2B5EF4-FFF2-40B4-BE49-F238E27FC236}">
                <a16:creationId xmlns:a16="http://schemas.microsoft.com/office/drawing/2014/main" id="{F1C91170-6483-4A48-BE5A-1E0721E92A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 rot="9592790">
            <a:off x="1161984" y="-184850"/>
            <a:ext cx="8775969" cy="6441929"/>
          </a:xfrm>
          <a:custGeom>
            <a:avLst/>
            <a:gdLst>
              <a:gd name="connsiteX0" fmla="*/ 4353930 w 8775969"/>
              <a:gd name="connsiteY0" fmla="*/ 6441929 h 6441929"/>
              <a:gd name="connsiteX1" fmla="*/ 1420246 w 8775969"/>
              <a:gd name="connsiteY1" fmla="*/ 5367182 h 6441929"/>
              <a:gd name="connsiteX2" fmla="*/ 1091850 w 8775969"/>
              <a:gd name="connsiteY2" fmla="*/ 4773591 h 6441929"/>
              <a:gd name="connsiteX3" fmla="*/ 2736 w 8775969"/>
              <a:gd name="connsiteY3" fmla="*/ 754571 h 6441929"/>
              <a:gd name="connsiteX4" fmla="*/ 12 w 8775969"/>
              <a:gd name="connsiteY4" fmla="*/ 512196 h 6441929"/>
              <a:gd name="connsiteX5" fmla="*/ 179746 w 8775969"/>
              <a:gd name="connsiteY5" fmla="*/ 324540 h 6441929"/>
              <a:gd name="connsiteX6" fmla="*/ 418594 w 8775969"/>
              <a:gd name="connsiteY6" fmla="*/ 317031 h 6441929"/>
              <a:gd name="connsiteX7" fmla="*/ 6497553 w 8775969"/>
              <a:gd name="connsiteY7" fmla="*/ 253 h 6441929"/>
              <a:gd name="connsiteX8" fmla="*/ 6667451 w 8775969"/>
              <a:gd name="connsiteY8" fmla="*/ 91911 h 6441929"/>
              <a:gd name="connsiteX9" fmla="*/ 8750634 w 8775969"/>
              <a:gd name="connsiteY9" fmla="*/ 3658550 h 6441929"/>
              <a:gd name="connsiteX10" fmla="*/ 8684005 w 8775969"/>
              <a:gd name="connsiteY10" fmla="*/ 3912309 h 6441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775969" h="6441929">
                <a:moveTo>
                  <a:pt x="4353930" y="6441929"/>
                </a:moveTo>
                <a:lnTo>
                  <a:pt x="1420246" y="5367182"/>
                </a:lnTo>
                <a:lnTo>
                  <a:pt x="1091850" y="4773591"/>
                </a:lnTo>
                <a:cubicBezTo>
                  <a:pt x="374427" y="3389089"/>
                  <a:pt x="16575" y="2042753"/>
                  <a:pt x="2736" y="754571"/>
                </a:cubicBezTo>
                <a:lnTo>
                  <a:pt x="12" y="512196"/>
                </a:lnTo>
                <a:cubicBezTo>
                  <a:pt x="-1125" y="411095"/>
                  <a:pt x="78744" y="327726"/>
                  <a:pt x="179746" y="324540"/>
                </a:cubicBezTo>
                <a:lnTo>
                  <a:pt x="418594" y="317031"/>
                </a:lnTo>
                <a:lnTo>
                  <a:pt x="6497553" y="253"/>
                </a:lnTo>
                <a:cubicBezTo>
                  <a:pt x="6566908" y="-3364"/>
                  <a:pt x="6632380" y="32045"/>
                  <a:pt x="6667451" y="91911"/>
                </a:cubicBezTo>
                <a:lnTo>
                  <a:pt x="8750634" y="3658550"/>
                </a:lnTo>
                <a:cubicBezTo>
                  <a:pt x="8802293" y="3746973"/>
                  <a:pt x="8772429" y="3860649"/>
                  <a:pt x="8684005" y="3912309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3" name="Titel 5">
            <a:extLst>
              <a:ext uri="{FF2B5EF4-FFF2-40B4-BE49-F238E27FC236}">
                <a16:creationId xmlns:a16="http://schemas.microsoft.com/office/drawing/2014/main" id="{EE39DDA7-921D-4256-A30C-B0B1FE7EAB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6823" y="1797280"/>
            <a:ext cx="3890852" cy="2108088"/>
          </a:xfrm>
        </p:spPr>
        <p:txBody>
          <a:bodyPr/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GB" noProof="0"/>
              <a:t>Template </a:t>
            </a:r>
            <a:br>
              <a:rPr lang="en-GB" noProof="0"/>
            </a:br>
            <a:r>
              <a:rPr lang="en-GB" noProof="0"/>
              <a:t>for a long title over three, four or five lines</a:t>
            </a:r>
            <a:endParaRPr lang="en-GB"/>
          </a:p>
        </p:txBody>
      </p:sp>
      <p:sp>
        <p:nvSpPr>
          <p:cNvPr id="15" name="Tijdelijke aanduiding voor verticale tekst 2">
            <a:extLst>
              <a:ext uri="{FF2B5EF4-FFF2-40B4-BE49-F238E27FC236}">
                <a16:creationId xmlns:a16="http://schemas.microsoft.com/office/drawing/2014/main" id="{6AD5D99D-20DD-4C09-B9C7-9F30D637954C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4167095" y="4652115"/>
            <a:ext cx="3890852" cy="555507"/>
          </a:xfrm>
        </p:spPr>
        <p:txBody>
          <a:bodyPr vert="horz" lIns="0" tIns="0" rIns="0" bIns="0"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2"/>
                </a:solidFill>
              </a:defRPr>
            </a:lvl1pPr>
            <a:lvl2pPr marL="217483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Place your info here</a:t>
            </a:r>
          </a:p>
        </p:txBody>
      </p:sp>
      <p:sp>
        <p:nvSpPr>
          <p:cNvPr id="17" name="Tijdelijke aanduiding voor tekst 19">
            <a:extLst>
              <a:ext uri="{FF2B5EF4-FFF2-40B4-BE49-F238E27FC236}">
                <a16:creationId xmlns:a16="http://schemas.microsoft.com/office/drawing/2014/main" id="{57165869-05DA-4A5C-B326-CE4ED7D95B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83580" y="1211433"/>
            <a:ext cx="1840072" cy="164379"/>
          </a:xfrm>
          <a:prstGeom prst="rect">
            <a:avLst/>
          </a:prstGeom>
          <a:blipFill>
            <a:blip r:embed="rId2"/>
            <a:srcRect/>
            <a:stretch>
              <a:fillRect t="10141" b="7644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8" name="Tijdelijke aanduiding voor verticale tekst 2">
            <a:extLst>
              <a:ext uri="{FF2B5EF4-FFF2-40B4-BE49-F238E27FC236}">
                <a16:creationId xmlns:a16="http://schemas.microsoft.com/office/drawing/2014/main" id="{0F32F0C8-26CC-46EF-8D20-54B4A419224C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4167095" y="4365561"/>
            <a:ext cx="3890852" cy="286555"/>
          </a:xfrm>
        </p:spPr>
        <p:txBody>
          <a:bodyPr vert="horz" lIns="0" tIns="0" rIns="0" b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5"/>
                </a:solidFill>
              </a:defRPr>
            </a:lvl1pPr>
            <a:lvl2pPr marL="217483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Name speaker</a:t>
            </a:r>
          </a:p>
        </p:txBody>
      </p:sp>
      <p:sp>
        <p:nvSpPr>
          <p:cNvPr id="9" name="Tijdelijke aanduiding voor dianummer 4">
            <a:extLst>
              <a:ext uri="{FF2B5EF4-FFF2-40B4-BE49-F238E27FC236}">
                <a16:creationId xmlns:a16="http://schemas.microsoft.com/office/drawing/2014/main" id="{14FA96FC-A80F-40DD-8F77-EE47C14973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681" y="6274118"/>
            <a:ext cx="44204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7037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ur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Tijdelijke aanduiding voor afbeelding 14">
            <a:extLst>
              <a:ext uri="{FF2B5EF4-FFF2-40B4-BE49-F238E27FC236}">
                <a16:creationId xmlns:a16="http://schemas.microsoft.com/office/drawing/2014/main" id="{10DE6FA8-3A25-4F3F-908F-FDF76F4BDFC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22" r="22"/>
          <a:stretch>
            <a:fillRect/>
          </a:stretch>
        </p:blipFill>
        <p:spPr>
          <a:xfrm>
            <a:off x="1" y="1"/>
            <a:ext cx="12202751" cy="6856567"/>
          </a:xfrm>
          <a:prstGeom prst="rect">
            <a:avLst/>
          </a:prstGeom>
        </p:spPr>
      </p:pic>
      <p:sp>
        <p:nvSpPr>
          <p:cNvPr id="20" name="Tijdelijke aanduiding voor tekst 19">
            <a:extLst>
              <a:ext uri="{FF2B5EF4-FFF2-40B4-BE49-F238E27FC236}">
                <a16:creationId xmlns:a16="http://schemas.microsoft.com/office/drawing/2014/main" id="{9884E09B-B1D9-42DF-89AB-4BEC37641F3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27706" y="676773"/>
            <a:ext cx="6969863" cy="5861627"/>
          </a:xfrm>
          <a:custGeom>
            <a:avLst/>
            <a:gdLst>
              <a:gd name="connsiteX0" fmla="*/ 5160349 w 6969863"/>
              <a:gd name="connsiteY0" fmla="*/ 201 h 5861627"/>
              <a:gd name="connsiteX1" fmla="*/ 5295282 w 6969863"/>
              <a:gd name="connsiteY1" fmla="*/ 72996 h 5861627"/>
              <a:gd name="connsiteX2" fmla="*/ 6949743 w 6969863"/>
              <a:gd name="connsiteY2" fmla="*/ 2905615 h 5861627"/>
              <a:gd name="connsiteX3" fmla="*/ 6896826 w 6969863"/>
              <a:gd name="connsiteY3" fmla="*/ 3107150 h 5861627"/>
              <a:gd name="connsiteX4" fmla="*/ 2216388 w 6969863"/>
              <a:gd name="connsiteY4" fmla="*/ 5841451 h 5861627"/>
              <a:gd name="connsiteX5" fmla="*/ 2014624 w 6969863"/>
              <a:gd name="connsiteY5" fmla="*/ 5788279 h 5861627"/>
              <a:gd name="connsiteX6" fmla="*/ 1128857 w 6969863"/>
              <a:gd name="connsiteY6" fmla="*/ 4264233 h 5861627"/>
              <a:gd name="connsiteX7" fmla="*/ 2174 w 6969863"/>
              <a:gd name="connsiteY7" fmla="*/ 599279 h 5861627"/>
              <a:gd name="connsiteX8" fmla="*/ 10 w 6969863"/>
              <a:gd name="connsiteY8" fmla="*/ 406785 h 5861627"/>
              <a:gd name="connsiteX9" fmla="*/ 142755 w 6969863"/>
              <a:gd name="connsiteY9" fmla="*/ 257749 h 5861627"/>
              <a:gd name="connsiteX10" fmla="*/ 332447 w 6969863"/>
              <a:gd name="connsiteY10" fmla="*/ 251786 h 58616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969863" h="5861627">
                <a:moveTo>
                  <a:pt x="5160349" y="201"/>
                </a:moveTo>
                <a:cubicBezTo>
                  <a:pt x="5215431" y="-2672"/>
                  <a:pt x="5267428" y="25450"/>
                  <a:pt x="5295282" y="72996"/>
                </a:cubicBezTo>
                <a:lnTo>
                  <a:pt x="6949743" y="2905615"/>
                </a:lnTo>
                <a:cubicBezTo>
                  <a:pt x="6990770" y="2975841"/>
                  <a:pt x="6967052" y="3066122"/>
                  <a:pt x="6896826" y="3107150"/>
                </a:cubicBezTo>
                <a:lnTo>
                  <a:pt x="2216388" y="5841451"/>
                </a:lnTo>
                <a:cubicBezTo>
                  <a:pt x="2145992" y="5882632"/>
                  <a:pt x="2055556" y="5858743"/>
                  <a:pt x="2014624" y="5788279"/>
                </a:cubicBezTo>
                <a:lnTo>
                  <a:pt x="1128857" y="4264233"/>
                </a:lnTo>
                <a:cubicBezTo>
                  <a:pt x="384147" y="2998055"/>
                  <a:pt x="14734" y="1768504"/>
                  <a:pt x="2174" y="599279"/>
                </a:cubicBezTo>
                <a:lnTo>
                  <a:pt x="10" y="406785"/>
                </a:lnTo>
                <a:cubicBezTo>
                  <a:pt x="-893" y="326491"/>
                  <a:pt x="62539" y="260279"/>
                  <a:pt x="142755" y="257749"/>
                </a:cubicBezTo>
                <a:lnTo>
                  <a:pt x="332447" y="25178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3" name="Titel 5">
            <a:extLst>
              <a:ext uri="{FF2B5EF4-FFF2-40B4-BE49-F238E27FC236}">
                <a16:creationId xmlns:a16="http://schemas.microsoft.com/office/drawing/2014/main" id="{EE39DDA7-921D-4256-A30C-B0B1FE7EAB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6823" y="2179631"/>
            <a:ext cx="3890852" cy="1068395"/>
          </a:xfrm>
        </p:spPr>
        <p:txBody>
          <a:bodyPr/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GB" noProof="0"/>
              <a:t>Template </a:t>
            </a:r>
            <a:br>
              <a:rPr lang="en-GB" noProof="0"/>
            </a:br>
            <a:r>
              <a:rPr lang="en-GB" noProof="0"/>
              <a:t>for a short title</a:t>
            </a:r>
            <a:endParaRPr lang="en-GB"/>
          </a:p>
        </p:txBody>
      </p:sp>
      <p:sp>
        <p:nvSpPr>
          <p:cNvPr id="15" name="Tijdelijke aanduiding voor verticale tekst 2">
            <a:extLst>
              <a:ext uri="{FF2B5EF4-FFF2-40B4-BE49-F238E27FC236}">
                <a16:creationId xmlns:a16="http://schemas.microsoft.com/office/drawing/2014/main" id="{6AD5D99D-20DD-4C09-B9C7-9F30D637954C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4167095" y="3905370"/>
            <a:ext cx="2872061" cy="800121"/>
          </a:xfrm>
        </p:spPr>
        <p:txBody>
          <a:bodyPr vert="horz" lIns="0" tIns="0" rIns="0" bIns="0"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2"/>
                </a:solidFill>
              </a:defRPr>
            </a:lvl1pPr>
            <a:lvl2pPr marL="217483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Place your info here</a:t>
            </a:r>
          </a:p>
        </p:txBody>
      </p:sp>
      <p:sp>
        <p:nvSpPr>
          <p:cNvPr id="17" name="Tijdelijke aanduiding voor tekst 19">
            <a:extLst>
              <a:ext uri="{FF2B5EF4-FFF2-40B4-BE49-F238E27FC236}">
                <a16:creationId xmlns:a16="http://schemas.microsoft.com/office/drawing/2014/main" id="{57165869-05DA-4A5C-B326-CE4ED7D95B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83580" y="1769551"/>
            <a:ext cx="1840072" cy="164379"/>
          </a:xfrm>
          <a:prstGeom prst="rect">
            <a:avLst/>
          </a:prstGeom>
          <a:blipFill>
            <a:blip r:embed="rId3"/>
            <a:srcRect/>
            <a:stretch>
              <a:fillRect t="10141" b="7644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8" name="Tijdelijke aanduiding voor verticale tekst 2">
            <a:extLst>
              <a:ext uri="{FF2B5EF4-FFF2-40B4-BE49-F238E27FC236}">
                <a16:creationId xmlns:a16="http://schemas.microsoft.com/office/drawing/2014/main" id="{0F32F0C8-26CC-46EF-8D20-54B4A419224C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4167095" y="3618816"/>
            <a:ext cx="2872061" cy="286555"/>
          </a:xfrm>
        </p:spPr>
        <p:txBody>
          <a:bodyPr vert="horz" lIns="0" tIns="0" rIns="0" b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5"/>
                </a:solidFill>
              </a:defRPr>
            </a:lvl1pPr>
            <a:lvl2pPr marL="217483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Name speaker</a:t>
            </a:r>
          </a:p>
        </p:txBody>
      </p:sp>
      <p:sp>
        <p:nvSpPr>
          <p:cNvPr id="9" name="Tijdelijke aanduiding voor dianummer 4">
            <a:extLst>
              <a:ext uri="{FF2B5EF4-FFF2-40B4-BE49-F238E27FC236}">
                <a16:creationId xmlns:a16="http://schemas.microsoft.com/office/drawing/2014/main" id="{95883B6D-BB67-4DC5-AF47-77914C19FB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681" y="6274118"/>
            <a:ext cx="44204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0185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ure #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Tijdelijke aanduiding voor afbeelding 7">
            <a:extLst>
              <a:ext uri="{FF2B5EF4-FFF2-40B4-BE49-F238E27FC236}">
                <a16:creationId xmlns:a16="http://schemas.microsoft.com/office/drawing/2014/main" id="{79B894AE-E74D-4066-A2CC-E8C18E9964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t="1" b="1"/>
          <a:stretch>
            <a:fillRect/>
          </a:stretch>
        </p:blipFill>
        <p:spPr>
          <a:xfrm>
            <a:off x="-5376" y="1434"/>
            <a:ext cx="12202751" cy="6856567"/>
          </a:xfrm>
          <a:prstGeom prst="rect">
            <a:avLst/>
          </a:prstGeom>
        </p:spPr>
      </p:pic>
      <p:sp>
        <p:nvSpPr>
          <p:cNvPr id="20" name="Tijdelijke aanduiding voor tekst 19">
            <a:extLst>
              <a:ext uri="{FF2B5EF4-FFF2-40B4-BE49-F238E27FC236}">
                <a16:creationId xmlns:a16="http://schemas.microsoft.com/office/drawing/2014/main" id="{9884E09B-B1D9-42DF-89AB-4BEC37641F3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27706" y="676773"/>
            <a:ext cx="6969863" cy="5861627"/>
          </a:xfrm>
          <a:custGeom>
            <a:avLst/>
            <a:gdLst>
              <a:gd name="connsiteX0" fmla="*/ 5160349 w 6969863"/>
              <a:gd name="connsiteY0" fmla="*/ 201 h 5861627"/>
              <a:gd name="connsiteX1" fmla="*/ 5295282 w 6969863"/>
              <a:gd name="connsiteY1" fmla="*/ 72996 h 5861627"/>
              <a:gd name="connsiteX2" fmla="*/ 6949743 w 6969863"/>
              <a:gd name="connsiteY2" fmla="*/ 2905615 h 5861627"/>
              <a:gd name="connsiteX3" fmla="*/ 6896826 w 6969863"/>
              <a:gd name="connsiteY3" fmla="*/ 3107150 h 5861627"/>
              <a:gd name="connsiteX4" fmla="*/ 2216388 w 6969863"/>
              <a:gd name="connsiteY4" fmla="*/ 5841451 h 5861627"/>
              <a:gd name="connsiteX5" fmla="*/ 2014624 w 6969863"/>
              <a:gd name="connsiteY5" fmla="*/ 5788279 h 5861627"/>
              <a:gd name="connsiteX6" fmla="*/ 1128857 w 6969863"/>
              <a:gd name="connsiteY6" fmla="*/ 4264233 h 5861627"/>
              <a:gd name="connsiteX7" fmla="*/ 2174 w 6969863"/>
              <a:gd name="connsiteY7" fmla="*/ 599279 h 5861627"/>
              <a:gd name="connsiteX8" fmla="*/ 10 w 6969863"/>
              <a:gd name="connsiteY8" fmla="*/ 406785 h 5861627"/>
              <a:gd name="connsiteX9" fmla="*/ 142755 w 6969863"/>
              <a:gd name="connsiteY9" fmla="*/ 257749 h 5861627"/>
              <a:gd name="connsiteX10" fmla="*/ 332447 w 6969863"/>
              <a:gd name="connsiteY10" fmla="*/ 251786 h 58616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969863" h="5861627">
                <a:moveTo>
                  <a:pt x="5160349" y="201"/>
                </a:moveTo>
                <a:cubicBezTo>
                  <a:pt x="5215431" y="-2672"/>
                  <a:pt x="5267428" y="25450"/>
                  <a:pt x="5295282" y="72996"/>
                </a:cubicBezTo>
                <a:lnTo>
                  <a:pt x="6949743" y="2905615"/>
                </a:lnTo>
                <a:cubicBezTo>
                  <a:pt x="6990770" y="2975841"/>
                  <a:pt x="6967052" y="3066122"/>
                  <a:pt x="6896826" y="3107150"/>
                </a:cubicBezTo>
                <a:lnTo>
                  <a:pt x="2216388" y="5841451"/>
                </a:lnTo>
                <a:cubicBezTo>
                  <a:pt x="2145992" y="5882632"/>
                  <a:pt x="2055556" y="5858743"/>
                  <a:pt x="2014624" y="5788279"/>
                </a:cubicBezTo>
                <a:lnTo>
                  <a:pt x="1128857" y="4264233"/>
                </a:lnTo>
                <a:cubicBezTo>
                  <a:pt x="384147" y="2998055"/>
                  <a:pt x="14734" y="1768504"/>
                  <a:pt x="2174" y="599279"/>
                </a:cubicBezTo>
                <a:lnTo>
                  <a:pt x="10" y="406785"/>
                </a:lnTo>
                <a:cubicBezTo>
                  <a:pt x="-893" y="326491"/>
                  <a:pt x="62539" y="260279"/>
                  <a:pt x="142755" y="257749"/>
                </a:cubicBezTo>
                <a:lnTo>
                  <a:pt x="332447" y="25178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3" name="Titel 5">
            <a:extLst>
              <a:ext uri="{FF2B5EF4-FFF2-40B4-BE49-F238E27FC236}">
                <a16:creationId xmlns:a16="http://schemas.microsoft.com/office/drawing/2014/main" id="{EE39DDA7-921D-4256-A30C-B0B1FE7EAB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6823" y="2179631"/>
            <a:ext cx="3890852" cy="1068395"/>
          </a:xfrm>
        </p:spPr>
        <p:txBody>
          <a:bodyPr/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GB" noProof="0"/>
              <a:t>Template </a:t>
            </a:r>
            <a:br>
              <a:rPr lang="en-GB" noProof="0"/>
            </a:br>
            <a:r>
              <a:rPr lang="en-GB" noProof="0"/>
              <a:t>for a short title</a:t>
            </a:r>
            <a:endParaRPr lang="en-GB"/>
          </a:p>
        </p:txBody>
      </p:sp>
      <p:sp>
        <p:nvSpPr>
          <p:cNvPr id="15" name="Tijdelijke aanduiding voor verticale tekst 2">
            <a:extLst>
              <a:ext uri="{FF2B5EF4-FFF2-40B4-BE49-F238E27FC236}">
                <a16:creationId xmlns:a16="http://schemas.microsoft.com/office/drawing/2014/main" id="{6AD5D99D-20DD-4C09-B9C7-9F30D637954C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4167095" y="3905370"/>
            <a:ext cx="2872061" cy="800121"/>
          </a:xfrm>
        </p:spPr>
        <p:txBody>
          <a:bodyPr vert="horz" lIns="0" tIns="0" rIns="0" bIns="0"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2"/>
                </a:solidFill>
              </a:defRPr>
            </a:lvl1pPr>
            <a:lvl2pPr marL="217483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Place your info here</a:t>
            </a:r>
          </a:p>
        </p:txBody>
      </p:sp>
      <p:sp>
        <p:nvSpPr>
          <p:cNvPr id="17" name="Tijdelijke aanduiding voor tekst 19">
            <a:extLst>
              <a:ext uri="{FF2B5EF4-FFF2-40B4-BE49-F238E27FC236}">
                <a16:creationId xmlns:a16="http://schemas.microsoft.com/office/drawing/2014/main" id="{57165869-05DA-4A5C-B326-CE4ED7D95B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83580" y="1769551"/>
            <a:ext cx="1840072" cy="164379"/>
          </a:xfrm>
          <a:prstGeom prst="rect">
            <a:avLst/>
          </a:prstGeom>
          <a:blipFill>
            <a:blip r:embed="rId3"/>
            <a:srcRect/>
            <a:stretch>
              <a:fillRect t="10141" b="7644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8" name="Tijdelijke aanduiding voor verticale tekst 2">
            <a:extLst>
              <a:ext uri="{FF2B5EF4-FFF2-40B4-BE49-F238E27FC236}">
                <a16:creationId xmlns:a16="http://schemas.microsoft.com/office/drawing/2014/main" id="{0F32F0C8-26CC-46EF-8D20-54B4A419224C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4167095" y="3618816"/>
            <a:ext cx="2872061" cy="286555"/>
          </a:xfrm>
        </p:spPr>
        <p:txBody>
          <a:bodyPr vert="horz" lIns="0" tIns="0" rIns="0" b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5"/>
                </a:solidFill>
              </a:defRPr>
            </a:lvl1pPr>
            <a:lvl2pPr marL="217483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Name speaker</a:t>
            </a:r>
          </a:p>
        </p:txBody>
      </p:sp>
      <p:sp>
        <p:nvSpPr>
          <p:cNvPr id="9" name="Tijdelijke aanduiding voor dianummer 4">
            <a:extLst>
              <a:ext uri="{FF2B5EF4-FFF2-40B4-BE49-F238E27FC236}">
                <a16:creationId xmlns:a16="http://schemas.microsoft.com/office/drawing/2014/main" id="{95883B6D-BB67-4DC5-AF47-77914C19FB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681" y="6274118"/>
            <a:ext cx="44204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6258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ure #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Tijdelijke aanduiding voor afbeelding 40">
            <a:extLst>
              <a:ext uri="{FF2B5EF4-FFF2-40B4-BE49-F238E27FC236}">
                <a16:creationId xmlns:a16="http://schemas.microsoft.com/office/drawing/2014/main" id="{A49C6E6F-6C57-4AAA-9536-FC7D591699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3792" b="13792"/>
          <a:stretch/>
        </p:blipFill>
        <p:spPr>
          <a:xfrm>
            <a:off x="2" y="1434"/>
            <a:ext cx="12197375" cy="6856567"/>
          </a:xfrm>
          <a:prstGeom prst="rect">
            <a:avLst/>
          </a:prstGeom>
        </p:spPr>
      </p:pic>
      <p:sp>
        <p:nvSpPr>
          <p:cNvPr id="20" name="Tijdelijke aanduiding voor tekst 19">
            <a:extLst>
              <a:ext uri="{FF2B5EF4-FFF2-40B4-BE49-F238E27FC236}">
                <a16:creationId xmlns:a16="http://schemas.microsoft.com/office/drawing/2014/main" id="{9884E09B-B1D9-42DF-89AB-4BEC37641F3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27706" y="676773"/>
            <a:ext cx="6969863" cy="5861627"/>
          </a:xfrm>
          <a:custGeom>
            <a:avLst/>
            <a:gdLst>
              <a:gd name="connsiteX0" fmla="*/ 5160349 w 6969863"/>
              <a:gd name="connsiteY0" fmla="*/ 201 h 5861627"/>
              <a:gd name="connsiteX1" fmla="*/ 5295282 w 6969863"/>
              <a:gd name="connsiteY1" fmla="*/ 72996 h 5861627"/>
              <a:gd name="connsiteX2" fmla="*/ 6949743 w 6969863"/>
              <a:gd name="connsiteY2" fmla="*/ 2905615 h 5861627"/>
              <a:gd name="connsiteX3" fmla="*/ 6896826 w 6969863"/>
              <a:gd name="connsiteY3" fmla="*/ 3107150 h 5861627"/>
              <a:gd name="connsiteX4" fmla="*/ 2216388 w 6969863"/>
              <a:gd name="connsiteY4" fmla="*/ 5841451 h 5861627"/>
              <a:gd name="connsiteX5" fmla="*/ 2014624 w 6969863"/>
              <a:gd name="connsiteY5" fmla="*/ 5788279 h 5861627"/>
              <a:gd name="connsiteX6" fmla="*/ 1128857 w 6969863"/>
              <a:gd name="connsiteY6" fmla="*/ 4264233 h 5861627"/>
              <a:gd name="connsiteX7" fmla="*/ 2174 w 6969863"/>
              <a:gd name="connsiteY7" fmla="*/ 599279 h 5861627"/>
              <a:gd name="connsiteX8" fmla="*/ 10 w 6969863"/>
              <a:gd name="connsiteY8" fmla="*/ 406785 h 5861627"/>
              <a:gd name="connsiteX9" fmla="*/ 142755 w 6969863"/>
              <a:gd name="connsiteY9" fmla="*/ 257749 h 5861627"/>
              <a:gd name="connsiteX10" fmla="*/ 332447 w 6969863"/>
              <a:gd name="connsiteY10" fmla="*/ 251786 h 58616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969863" h="5861627">
                <a:moveTo>
                  <a:pt x="5160349" y="201"/>
                </a:moveTo>
                <a:cubicBezTo>
                  <a:pt x="5215431" y="-2672"/>
                  <a:pt x="5267428" y="25450"/>
                  <a:pt x="5295282" y="72996"/>
                </a:cubicBezTo>
                <a:lnTo>
                  <a:pt x="6949743" y="2905615"/>
                </a:lnTo>
                <a:cubicBezTo>
                  <a:pt x="6990770" y="2975841"/>
                  <a:pt x="6967052" y="3066122"/>
                  <a:pt x="6896826" y="3107150"/>
                </a:cubicBezTo>
                <a:lnTo>
                  <a:pt x="2216388" y="5841451"/>
                </a:lnTo>
                <a:cubicBezTo>
                  <a:pt x="2145992" y="5882632"/>
                  <a:pt x="2055556" y="5858743"/>
                  <a:pt x="2014624" y="5788279"/>
                </a:cubicBezTo>
                <a:lnTo>
                  <a:pt x="1128857" y="4264233"/>
                </a:lnTo>
                <a:cubicBezTo>
                  <a:pt x="384147" y="2998055"/>
                  <a:pt x="14734" y="1768504"/>
                  <a:pt x="2174" y="599279"/>
                </a:cubicBezTo>
                <a:lnTo>
                  <a:pt x="10" y="406785"/>
                </a:lnTo>
                <a:cubicBezTo>
                  <a:pt x="-893" y="326491"/>
                  <a:pt x="62539" y="260279"/>
                  <a:pt x="142755" y="257749"/>
                </a:cubicBezTo>
                <a:lnTo>
                  <a:pt x="332447" y="25178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3" name="Titel 5">
            <a:extLst>
              <a:ext uri="{FF2B5EF4-FFF2-40B4-BE49-F238E27FC236}">
                <a16:creationId xmlns:a16="http://schemas.microsoft.com/office/drawing/2014/main" id="{EE39DDA7-921D-4256-A30C-B0B1FE7EAB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6823" y="2179631"/>
            <a:ext cx="3890852" cy="1068395"/>
          </a:xfrm>
        </p:spPr>
        <p:txBody>
          <a:bodyPr/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GB" noProof="0"/>
              <a:t>Template </a:t>
            </a:r>
            <a:br>
              <a:rPr lang="en-GB" noProof="0"/>
            </a:br>
            <a:r>
              <a:rPr lang="en-GB" noProof="0"/>
              <a:t>for a short title</a:t>
            </a:r>
            <a:endParaRPr lang="en-GB"/>
          </a:p>
        </p:txBody>
      </p:sp>
      <p:sp>
        <p:nvSpPr>
          <p:cNvPr id="15" name="Tijdelijke aanduiding voor verticale tekst 2">
            <a:extLst>
              <a:ext uri="{FF2B5EF4-FFF2-40B4-BE49-F238E27FC236}">
                <a16:creationId xmlns:a16="http://schemas.microsoft.com/office/drawing/2014/main" id="{6AD5D99D-20DD-4C09-B9C7-9F30D637954C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4167095" y="3905370"/>
            <a:ext cx="2872061" cy="800121"/>
          </a:xfrm>
        </p:spPr>
        <p:txBody>
          <a:bodyPr vert="horz" lIns="0" tIns="0" rIns="0" bIns="0"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2"/>
                </a:solidFill>
              </a:defRPr>
            </a:lvl1pPr>
            <a:lvl2pPr marL="217483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Place your info here</a:t>
            </a:r>
          </a:p>
        </p:txBody>
      </p:sp>
      <p:sp>
        <p:nvSpPr>
          <p:cNvPr id="17" name="Tijdelijke aanduiding voor tekst 19">
            <a:extLst>
              <a:ext uri="{FF2B5EF4-FFF2-40B4-BE49-F238E27FC236}">
                <a16:creationId xmlns:a16="http://schemas.microsoft.com/office/drawing/2014/main" id="{57165869-05DA-4A5C-B326-CE4ED7D95B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83580" y="1769551"/>
            <a:ext cx="1840072" cy="164379"/>
          </a:xfrm>
          <a:prstGeom prst="rect">
            <a:avLst/>
          </a:prstGeom>
          <a:blipFill>
            <a:blip r:embed="rId3"/>
            <a:srcRect/>
            <a:stretch>
              <a:fillRect t="10141" b="7644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8" name="Tijdelijke aanduiding voor verticale tekst 2">
            <a:extLst>
              <a:ext uri="{FF2B5EF4-FFF2-40B4-BE49-F238E27FC236}">
                <a16:creationId xmlns:a16="http://schemas.microsoft.com/office/drawing/2014/main" id="{0F32F0C8-26CC-46EF-8D20-54B4A419224C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4167095" y="3618816"/>
            <a:ext cx="2872061" cy="286555"/>
          </a:xfrm>
        </p:spPr>
        <p:txBody>
          <a:bodyPr vert="horz" lIns="0" tIns="0" rIns="0" b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5"/>
                </a:solidFill>
              </a:defRPr>
            </a:lvl1pPr>
            <a:lvl2pPr marL="217483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/>
              <a:t>Name speaker</a:t>
            </a:r>
          </a:p>
        </p:txBody>
      </p:sp>
      <p:sp>
        <p:nvSpPr>
          <p:cNvPr id="9" name="Tijdelijke aanduiding voor dianummer 4">
            <a:extLst>
              <a:ext uri="{FF2B5EF4-FFF2-40B4-BE49-F238E27FC236}">
                <a16:creationId xmlns:a16="http://schemas.microsoft.com/office/drawing/2014/main" id="{95883B6D-BB67-4DC5-AF47-77914C19FB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681" y="6274118"/>
            <a:ext cx="44204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435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863754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397035499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/>
            </a:lvl1pPr>
            <a:lvl2pPr marL="609585" indent="0">
              <a:buNone/>
              <a:defRPr sz="2400"/>
            </a:lvl2pPr>
            <a:lvl3pPr marL="1219170" indent="0">
              <a:buNone/>
              <a:defRPr sz="2133"/>
            </a:lvl3pPr>
            <a:lvl4pPr marL="1828754" indent="0">
              <a:buNone/>
              <a:defRPr sz="1867"/>
            </a:lvl4pPr>
            <a:lvl5pPr marL="2438339" indent="0">
              <a:buNone/>
              <a:defRPr sz="1867"/>
            </a:lvl5pPr>
            <a:lvl6pPr marL="3047924" indent="0">
              <a:buNone/>
              <a:defRPr sz="1867"/>
            </a:lvl6pPr>
            <a:lvl7pPr marL="3657509" indent="0">
              <a:buNone/>
              <a:defRPr sz="1867"/>
            </a:lvl7pPr>
            <a:lvl8pPr marL="4267093" indent="0">
              <a:buNone/>
              <a:defRPr sz="1867"/>
            </a:lvl8pPr>
            <a:lvl9pPr marL="4876678" indent="0">
              <a:buNone/>
              <a:defRPr sz="1867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28102640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24979547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hort + fixed imag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" name="Tijdelijke aanduiding voor afbeelding 40">
            <a:extLst>
              <a:ext uri="{FF2B5EF4-FFF2-40B4-BE49-F238E27FC236}">
                <a16:creationId xmlns:a16="http://schemas.microsoft.com/office/drawing/2014/main" id="{B05AB66A-161A-462A-B69E-2980BB252B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3792" b="13792"/>
          <a:stretch/>
        </p:blipFill>
        <p:spPr>
          <a:xfrm>
            <a:off x="2" y="1434"/>
            <a:ext cx="12197375" cy="6856567"/>
          </a:xfrm>
          <a:prstGeom prst="rect">
            <a:avLst/>
          </a:prstGeom>
        </p:spPr>
      </p:pic>
      <p:sp>
        <p:nvSpPr>
          <p:cNvPr id="14" name="Tijdelijke aanduiding voor tekst 13">
            <a:extLst>
              <a:ext uri="{FF2B5EF4-FFF2-40B4-BE49-F238E27FC236}">
                <a16:creationId xmlns:a16="http://schemas.microsoft.com/office/drawing/2014/main" id="{6D266F51-F81C-4F01-A9E7-4456E7E62A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11114" y="0"/>
            <a:ext cx="7289419" cy="4245611"/>
          </a:xfrm>
          <a:custGeom>
            <a:avLst/>
            <a:gdLst>
              <a:gd name="connsiteX0" fmla="*/ 6628976 w 7289418"/>
              <a:gd name="connsiteY0" fmla="*/ 0 h 4245610"/>
              <a:gd name="connsiteX1" fmla="*/ 6671319 w 7289418"/>
              <a:gd name="connsiteY1" fmla="*/ 94434 h 4245610"/>
              <a:gd name="connsiteX2" fmla="*/ 7217192 w 7289418"/>
              <a:gd name="connsiteY2" fmla="*/ 1774999 h 4245610"/>
              <a:gd name="connsiteX3" fmla="*/ 7283719 w 7289418"/>
              <a:gd name="connsiteY3" fmla="*/ 2071554 h 4245610"/>
              <a:gd name="connsiteX4" fmla="*/ 7112202 w 7289418"/>
              <a:gd name="connsiteY4" fmla="*/ 2348562 h 4245610"/>
              <a:gd name="connsiteX5" fmla="*/ 6821223 w 7289418"/>
              <a:gd name="connsiteY5" fmla="*/ 2420035 h 4245610"/>
              <a:gd name="connsiteX6" fmla="*/ 0 w 7289418"/>
              <a:gd name="connsiteY6" fmla="*/ 4245610 h 4245610"/>
              <a:gd name="connsiteX7" fmla="*/ 0 w 7289418"/>
              <a:gd name="connsiteY7" fmla="*/ 1 h 4245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89418" h="4245610">
                <a:moveTo>
                  <a:pt x="6628976" y="0"/>
                </a:moveTo>
                <a:lnTo>
                  <a:pt x="6671319" y="94434"/>
                </a:lnTo>
                <a:cubicBezTo>
                  <a:pt x="6909449" y="651413"/>
                  <a:pt x="7091196" y="1212036"/>
                  <a:pt x="7217192" y="1774999"/>
                </a:cubicBezTo>
                <a:lnTo>
                  <a:pt x="7283719" y="2071554"/>
                </a:lnTo>
                <a:cubicBezTo>
                  <a:pt x="7311471" y="2195253"/>
                  <a:pt x="7235248" y="2318324"/>
                  <a:pt x="7112202" y="2348562"/>
                </a:cubicBezTo>
                <a:lnTo>
                  <a:pt x="6821223" y="2420035"/>
                </a:lnTo>
                <a:lnTo>
                  <a:pt x="0" y="4245610"/>
                </a:lnTo>
                <a:lnTo>
                  <a:pt x="0" y="1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5" name="Titel 5">
            <a:extLst>
              <a:ext uri="{FF2B5EF4-FFF2-40B4-BE49-F238E27FC236}">
                <a16:creationId xmlns:a16="http://schemas.microsoft.com/office/drawing/2014/main" id="{20DBEB7A-7FB1-4F46-90EC-A1F387B9FD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9516" y="1298687"/>
            <a:ext cx="5800773" cy="490400"/>
          </a:xfrm>
        </p:spPr>
        <p:txBody>
          <a:bodyPr/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GB" noProof="0"/>
              <a:t>Template for a short title</a:t>
            </a:r>
            <a:endParaRPr lang="en-GB"/>
          </a:p>
        </p:txBody>
      </p:sp>
      <p:sp>
        <p:nvSpPr>
          <p:cNvPr id="20" name="Tijdelijke aanduiding voor tekst 19">
            <a:extLst>
              <a:ext uri="{FF2B5EF4-FFF2-40B4-BE49-F238E27FC236}">
                <a16:creationId xmlns:a16="http://schemas.microsoft.com/office/drawing/2014/main" id="{FF5C0579-2F70-4964-8677-9A9AEB4495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1339" y="899559"/>
            <a:ext cx="1369048" cy="122301"/>
          </a:xfrm>
          <a:prstGeom prst="rect">
            <a:avLst/>
          </a:prstGeom>
          <a:blipFill>
            <a:blip r:embed="rId3"/>
            <a:srcRect/>
            <a:stretch>
              <a:fillRect t="10141" b="7644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78" name="Tijdelijke aanduiding voor dianummer 4">
            <a:extLst>
              <a:ext uri="{FF2B5EF4-FFF2-40B4-BE49-F238E27FC236}">
                <a16:creationId xmlns:a16="http://schemas.microsoft.com/office/drawing/2014/main" id="{6F8C28FB-270E-434B-AA2D-F9F7AA3E34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681" y="6274118"/>
            <a:ext cx="44204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79" name="Tijdelijke aanduiding voor verticale tekst 2">
            <a:extLst>
              <a:ext uri="{FF2B5EF4-FFF2-40B4-BE49-F238E27FC236}">
                <a16:creationId xmlns:a16="http://schemas.microsoft.com/office/drawing/2014/main" id="{4F1C34D5-00DC-459D-869B-560A74FCF0B2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899789" y="2013656"/>
            <a:ext cx="5800772" cy="267480"/>
          </a:xfrm>
        </p:spPr>
        <p:txBody>
          <a:bodyPr vert="horz" lIns="0" tIns="0" rIns="0" bIns="0"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  <a:lvl2pPr marL="217483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 algn="l"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Name | function</a:t>
            </a:r>
          </a:p>
        </p:txBody>
      </p:sp>
      <p:sp>
        <p:nvSpPr>
          <p:cNvPr id="80" name="Tijdelijke aanduiding voor verticale tekst 2">
            <a:extLst>
              <a:ext uri="{FF2B5EF4-FFF2-40B4-BE49-F238E27FC236}">
                <a16:creationId xmlns:a16="http://schemas.microsoft.com/office/drawing/2014/main" id="{DD24DA47-4268-4F5C-A7EE-445479C84886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899788" y="2440275"/>
            <a:ext cx="1694000" cy="183397"/>
          </a:xfrm>
        </p:spPr>
        <p:txBody>
          <a:bodyPr vert="horz" lIns="0" tIns="0" rIns="0" bIns="0" anchor="ctr"/>
          <a:lstStyle>
            <a:lvl1pPr marL="0" indent="0">
              <a:buNone/>
              <a:defRPr sz="1100">
                <a:solidFill>
                  <a:schemeClr val="accent2"/>
                </a:solidFill>
              </a:defRPr>
            </a:lvl1pPr>
            <a:lvl2pPr marL="217483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Location</a:t>
            </a:r>
          </a:p>
        </p:txBody>
      </p:sp>
      <p:sp>
        <p:nvSpPr>
          <p:cNvPr id="81" name="Tijdelijke aanduiding voor verticale tekst 2">
            <a:extLst>
              <a:ext uri="{FF2B5EF4-FFF2-40B4-BE49-F238E27FC236}">
                <a16:creationId xmlns:a16="http://schemas.microsoft.com/office/drawing/2014/main" id="{36C78B04-8B64-42B8-85BF-3D80107938C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899788" y="2634868"/>
            <a:ext cx="1694000" cy="183397"/>
          </a:xfrm>
        </p:spPr>
        <p:txBody>
          <a:bodyPr vert="horz" lIns="0" tIns="0" rIns="0" bIns="0" anchor="ctr"/>
          <a:lstStyle>
            <a:lvl1pPr marL="0" indent="0">
              <a:buNone/>
              <a:defRPr sz="1100">
                <a:solidFill>
                  <a:schemeClr val="accent2"/>
                </a:solidFill>
              </a:defRPr>
            </a:lvl1pPr>
            <a:lvl2pPr marL="217483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6758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718403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76060255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897788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E8E3C03-9E2F-4CF3-98BB-8703EB7486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9546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E8E3C03-9E2F-4CF3-98BB-8703EB7486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en-US" smtClean="0"/>
              <a:t>‹N›</a:t>
            </a:fld>
            <a:endParaRPr lang="en-US"/>
          </a:p>
        </p:txBody>
      </p:sp>
      <p:sp>
        <p:nvSpPr>
          <p:cNvPr id="5" name="Tekstvak 4"/>
          <p:cNvSpPr txBox="1"/>
          <p:nvPr userDrawn="1"/>
        </p:nvSpPr>
        <p:spPr>
          <a:xfrm>
            <a:off x="-10750" y="-662296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0" spc="50" baseline="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Logo slide</a:t>
            </a:r>
          </a:p>
        </p:txBody>
      </p:sp>
      <p:grpSp>
        <p:nvGrpSpPr>
          <p:cNvPr id="10" name="Graphic 8">
            <a:extLst>
              <a:ext uri="{FF2B5EF4-FFF2-40B4-BE49-F238E27FC236}">
                <a16:creationId xmlns:a16="http://schemas.microsoft.com/office/drawing/2014/main" id="{3754EC63-49CB-497E-A600-73C31E9819F9}"/>
              </a:ext>
            </a:extLst>
          </p:cNvPr>
          <p:cNvGrpSpPr/>
          <p:nvPr/>
        </p:nvGrpSpPr>
        <p:grpSpPr>
          <a:xfrm>
            <a:off x="3260176" y="3218289"/>
            <a:ext cx="5667782" cy="415628"/>
            <a:chOff x="3260176" y="3218289"/>
            <a:chExt cx="5667782" cy="415628"/>
          </a:xfrm>
          <a:solidFill>
            <a:srgbClr val="231B37"/>
          </a:solidFill>
        </p:grpSpPr>
        <p:sp>
          <p:nvSpPr>
            <p:cNvPr id="11" name="Vrije vorm: vorm 10">
              <a:extLst>
                <a:ext uri="{FF2B5EF4-FFF2-40B4-BE49-F238E27FC236}">
                  <a16:creationId xmlns:a16="http://schemas.microsoft.com/office/drawing/2014/main" id="{C4DEEFE2-B496-4C16-98D5-E7488E5FD3BE}"/>
                </a:ext>
              </a:extLst>
            </p:cNvPr>
            <p:cNvSpPr/>
            <p:nvPr/>
          </p:nvSpPr>
          <p:spPr>
            <a:xfrm>
              <a:off x="3260176" y="3220747"/>
              <a:ext cx="290254" cy="405970"/>
            </a:xfrm>
            <a:custGeom>
              <a:avLst/>
              <a:gdLst>
                <a:gd name="connsiteX0" fmla="*/ 214223 w 290254"/>
                <a:gd name="connsiteY0" fmla="*/ 190518 h 405970"/>
                <a:gd name="connsiteX1" fmla="*/ 214223 w 290254"/>
                <a:gd name="connsiteY1" fmla="*/ 188060 h 405970"/>
                <a:gd name="connsiteX2" fmla="*/ 269535 w 290254"/>
                <a:gd name="connsiteY2" fmla="*/ 99912 h 405970"/>
                <a:gd name="connsiteX3" fmla="*/ 127129 w 290254"/>
                <a:gd name="connsiteY3" fmla="*/ 0 h 405970"/>
                <a:gd name="connsiteX4" fmla="*/ 0 w 290254"/>
                <a:gd name="connsiteY4" fmla="*/ 0 h 405970"/>
                <a:gd name="connsiteX5" fmla="*/ 0 w 290254"/>
                <a:gd name="connsiteY5" fmla="*/ 405971 h 405970"/>
                <a:gd name="connsiteX6" fmla="*/ 137489 w 290254"/>
                <a:gd name="connsiteY6" fmla="*/ 405971 h 405970"/>
                <a:gd name="connsiteX7" fmla="*/ 290255 w 290254"/>
                <a:gd name="connsiteY7" fmla="*/ 286743 h 405970"/>
                <a:gd name="connsiteX8" fmla="*/ 214223 w 290254"/>
                <a:gd name="connsiteY8" fmla="*/ 190518 h 405970"/>
                <a:gd name="connsiteX9" fmla="*/ 70588 w 290254"/>
                <a:gd name="connsiteY9" fmla="*/ 55839 h 405970"/>
                <a:gd name="connsiteX10" fmla="*/ 122388 w 290254"/>
                <a:gd name="connsiteY10" fmla="*/ 55839 h 405970"/>
                <a:gd name="connsiteX11" fmla="*/ 200351 w 290254"/>
                <a:gd name="connsiteY11" fmla="*/ 110448 h 405970"/>
                <a:gd name="connsiteX12" fmla="*/ 121335 w 290254"/>
                <a:gd name="connsiteY12" fmla="*/ 167516 h 405970"/>
                <a:gd name="connsiteX13" fmla="*/ 70588 w 290254"/>
                <a:gd name="connsiteY13" fmla="*/ 167516 h 405970"/>
                <a:gd name="connsiteX14" fmla="*/ 70588 w 290254"/>
                <a:gd name="connsiteY14" fmla="*/ 55839 h 405970"/>
                <a:gd name="connsiteX15" fmla="*/ 130290 w 290254"/>
                <a:gd name="connsiteY15" fmla="*/ 349957 h 405970"/>
                <a:gd name="connsiteX16" fmla="*/ 70588 w 290254"/>
                <a:gd name="connsiteY16" fmla="*/ 349957 h 405970"/>
                <a:gd name="connsiteX17" fmla="*/ 70588 w 290254"/>
                <a:gd name="connsiteY17" fmla="*/ 221423 h 405970"/>
                <a:gd name="connsiteX18" fmla="*/ 130290 w 290254"/>
                <a:gd name="connsiteY18" fmla="*/ 221423 h 405970"/>
                <a:gd name="connsiteX19" fmla="*/ 221598 w 290254"/>
                <a:gd name="connsiteY19" fmla="*/ 282880 h 405970"/>
                <a:gd name="connsiteX20" fmla="*/ 130290 w 290254"/>
                <a:gd name="connsiteY20" fmla="*/ 349957 h 405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0254" h="405970">
                  <a:moveTo>
                    <a:pt x="214223" y="190518"/>
                  </a:moveTo>
                  <a:lnTo>
                    <a:pt x="214223" y="188060"/>
                  </a:lnTo>
                  <a:cubicBezTo>
                    <a:pt x="248991" y="175593"/>
                    <a:pt x="269535" y="138367"/>
                    <a:pt x="269535" y="99912"/>
                  </a:cubicBezTo>
                  <a:cubicBezTo>
                    <a:pt x="269535" y="25461"/>
                    <a:pt x="209307" y="0"/>
                    <a:pt x="127129" y="0"/>
                  </a:cubicBezTo>
                  <a:lnTo>
                    <a:pt x="0" y="0"/>
                  </a:lnTo>
                  <a:lnTo>
                    <a:pt x="0" y="405971"/>
                  </a:lnTo>
                  <a:lnTo>
                    <a:pt x="137489" y="405971"/>
                  </a:lnTo>
                  <a:cubicBezTo>
                    <a:pt x="225110" y="405971"/>
                    <a:pt x="290255" y="368043"/>
                    <a:pt x="290255" y="286743"/>
                  </a:cubicBezTo>
                  <a:cubicBezTo>
                    <a:pt x="290255" y="232134"/>
                    <a:pt x="257946" y="200352"/>
                    <a:pt x="214223" y="190518"/>
                  </a:cubicBezTo>
                  <a:close/>
                  <a:moveTo>
                    <a:pt x="70588" y="55839"/>
                  </a:moveTo>
                  <a:lnTo>
                    <a:pt x="122388" y="55839"/>
                  </a:lnTo>
                  <a:cubicBezTo>
                    <a:pt x="174188" y="55839"/>
                    <a:pt x="200351" y="70764"/>
                    <a:pt x="200351" y="110448"/>
                  </a:cubicBezTo>
                  <a:cubicBezTo>
                    <a:pt x="200351" y="145215"/>
                    <a:pt x="176646" y="167516"/>
                    <a:pt x="121335" y="167516"/>
                  </a:cubicBezTo>
                  <a:lnTo>
                    <a:pt x="70588" y="167516"/>
                  </a:lnTo>
                  <a:lnTo>
                    <a:pt x="70588" y="55839"/>
                  </a:lnTo>
                  <a:close/>
                  <a:moveTo>
                    <a:pt x="130290" y="349957"/>
                  </a:moveTo>
                  <a:lnTo>
                    <a:pt x="70588" y="349957"/>
                  </a:lnTo>
                  <a:lnTo>
                    <a:pt x="70588" y="221423"/>
                  </a:lnTo>
                  <a:lnTo>
                    <a:pt x="130290" y="221423"/>
                  </a:lnTo>
                  <a:cubicBezTo>
                    <a:pt x="189991" y="221423"/>
                    <a:pt x="221598" y="240036"/>
                    <a:pt x="221598" y="282880"/>
                  </a:cubicBezTo>
                  <a:cubicBezTo>
                    <a:pt x="221422" y="328359"/>
                    <a:pt x="188587" y="349957"/>
                    <a:pt x="130290" y="349957"/>
                  </a:cubicBezTo>
                  <a:close/>
                </a:path>
              </a:pathLst>
            </a:custGeom>
            <a:solidFill>
              <a:srgbClr val="231B37"/>
            </a:solidFill>
            <a:ln w="17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Vrije vorm: vorm 11">
              <a:extLst>
                <a:ext uri="{FF2B5EF4-FFF2-40B4-BE49-F238E27FC236}">
                  <a16:creationId xmlns:a16="http://schemas.microsoft.com/office/drawing/2014/main" id="{C428C495-BB61-4B18-B4B9-E3B7F60D94B6}"/>
                </a:ext>
              </a:extLst>
            </p:cNvPr>
            <p:cNvSpPr/>
            <p:nvPr/>
          </p:nvSpPr>
          <p:spPr>
            <a:xfrm>
              <a:off x="3629623" y="3220571"/>
              <a:ext cx="299912" cy="405970"/>
            </a:xfrm>
            <a:custGeom>
              <a:avLst/>
              <a:gdLst>
                <a:gd name="connsiteX0" fmla="*/ 106409 w 299912"/>
                <a:gd name="connsiteY0" fmla="*/ 0 h 405970"/>
                <a:gd name="connsiteX1" fmla="*/ 0 w 299912"/>
                <a:gd name="connsiteY1" fmla="*/ 0 h 405970"/>
                <a:gd name="connsiteX2" fmla="*/ 0 w 299912"/>
                <a:gd name="connsiteY2" fmla="*/ 405971 h 405970"/>
                <a:gd name="connsiteX3" fmla="*/ 110097 w 299912"/>
                <a:gd name="connsiteY3" fmla="*/ 405971 h 405970"/>
                <a:gd name="connsiteX4" fmla="*/ 299912 w 299912"/>
                <a:gd name="connsiteY4" fmla="*/ 201054 h 405970"/>
                <a:gd name="connsiteX5" fmla="*/ 106409 w 299912"/>
                <a:gd name="connsiteY5" fmla="*/ 0 h 405970"/>
                <a:gd name="connsiteX6" fmla="*/ 101493 w 299912"/>
                <a:gd name="connsiteY6" fmla="*/ 347674 h 405970"/>
                <a:gd name="connsiteX7" fmla="*/ 70413 w 299912"/>
                <a:gd name="connsiteY7" fmla="*/ 347674 h 405970"/>
                <a:gd name="connsiteX8" fmla="*/ 70413 w 299912"/>
                <a:gd name="connsiteY8" fmla="*/ 58472 h 405970"/>
                <a:gd name="connsiteX9" fmla="*/ 101493 w 299912"/>
                <a:gd name="connsiteY9" fmla="*/ 58472 h 405970"/>
                <a:gd name="connsiteX10" fmla="*/ 227393 w 299912"/>
                <a:gd name="connsiteY10" fmla="*/ 201229 h 405970"/>
                <a:gd name="connsiteX11" fmla="*/ 101493 w 299912"/>
                <a:gd name="connsiteY11" fmla="*/ 347674 h 405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9912" h="405970">
                  <a:moveTo>
                    <a:pt x="106409" y="0"/>
                  </a:moveTo>
                  <a:lnTo>
                    <a:pt x="0" y="0"/>
                  </a:lnTo>
                  <a:lnTo>
                    <a:pt x="0" y="405971"/>
                  </a:lnTo>
                  <a:lnTo>
                    <a:pt x="110097" y="405971"/>
                  </a:lnTo>
                  <a:cubicBezTo>
                    <a:pt x="228095" y="405971"/>
                    <a:pt x="299912" y="335734"/>
                    <a:pt x="299912" y="201054"/>
                  </a:cubicBezTo>
                  <a:cubicBezTo>
                    <a:pt x="299912" y="67076"/>
                    <a:pt x="228095" y="0"/>
                    <a:pt x="106409" y="0"/>
                  </a:cubicBezTo>
                  <a:close/>
                  <a:moveTo>
                    <a:pt x="101493" y="347674"/>
                  </a:moveTo>
                  <a:lnTo>
                    <a:pt x="70413" y="347674"/>
                  </a:lnTo>
                  <a:lnTo>
                    <a:pt x="70413" y="58472"/>
                  </a:lnTo>
                  <a:lnTo>
                    <a:pt x="101493" y="58472"/>
                  </a:lnTo>
                  <a:cubicBezTo>
                    <a:pt x="181738" y="58472"/>
                    <a:pt x="227393" y="101844"/>
                    <a:pt x="227393" y="201229"/>
                  </a:cubicBezTo>
                  <a:cubicBezTo>
                    <a:pt x="227568" y="301142"/>
                    <a:pt x="181914" y="347674"/>
                    <a:pt x="101493" y="347674"/>
                  </a:cubicBezTo>
                  <a:close/>
                </a:path>
              </a:pathLst>
            </a:custGeom>
            <a:solidFill>
              <a:srgbClr val="231B37"/>
            </a:solidFill>
            <a:ln w="17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Vrije vorm: vorm 12">
              <a:extLst>
                <a:ext uri="{FF2B5EF4-FFF2-40B4-BE49-F238E27FC236}">
                  <a16:creationId xmlns:a16="http://schemas.microsoft.com/office/drawing/2014/main" id="{F6E45D3D-22FB-47C8-BA2E-6A15D008D134}"/>
                </a:ext>
              </a:extLst>
            </p:cNvPr>
            <p:cNvSpPr/>
            <p:nvPr/>
          </p:nvSpPr>
          <p:spPr>
            <a:xfrm>
              <a:off x="4015400" y="3220571"/>
              <a:ext cx="296400" cy="405970"/>
            </a:xfrm>
            <a:custGeom>
              <a:avLst/>
              <a:gdLst>
                <a:gd name="connsiteX0" fmla="*/ 280597 w 296400"/>
                <a:gd name="connsiteY0" fmla="*/ 120457 h 405970"/>
                <a:gd name="connsiteX1" fmla="*/ 134504 w 296400"/>
                <a:gd name="connsiteY1" fmla="*/ 0 h 405970"/>
                <a:gd name="connsiteX2" fmla="*/ 0 w 296400"/>
                <a:gd name="connsiteY2" fmla="*/ 0 h 405970"/>
                <a:gd name="connsiteX3" fmla="*/ 0 w 296400"/>
                <a:gd name="connsiteY3" fmla="*/ 405971 h 405970"/>
                <a:gd name="connsiteX4" fmla="*/ 70588 w 296400"/>
                <a:gd name="connsiteY4" fmla="*/ 405971 h 405970"/>
                <a:gd name="connsiteX5" fmla="*/ 70588 w 296400"/>
                <a:gd name="connsiteY5" fmla="*/ 247059 h 405970"/>
                <a:gd name="connsiteX6" fmla="*/ 131519 w 296400"/>
                <a:gd name="connsiteY6" fmla="*/ 247059 h 405970"/>
                <a:gd name="connsiteX7" fmla="*/ 217384 w 296400"/>
                <a:gd name="connsiteY7" fmla="*/ 405971 h 405970"/>
                <a:gd name="connsiteX8" fmla="*/ 296401 w 296400"/>
                <a:gd name="connsiteY8" fmla="*/ 405971 h 405970"/>
                <a:gd name="connsiteX9" fmla="*/ 201405 w 296400"/>
                <a:gd name="connsiteY9" fmla="*/ 236524 h 405970"/>
                <a:gd name="connsiteX10" fmla="*/ 280597 w 296400"/>
                <a:gd name="connsiteY10" fmla="*/ 120457 h 405970"/>
                <a:gd name="connsiteX11" fmla="*/ 127129 w 296400"/>
                <a:gd name="connsiteY11" fmla="*/ 189992 h 405970"/>
                <a:gd name="connsiteX12" fmla="*/ 70588 w 296400"/>
                <a:gd name="connsiteY12" fmla="*/ 189992 h 405970"/>
                <a:gd name="connsiteX13" fmla="*/ 70588 w 296400"/>
                <a:gd name="connsiteY13" fmla="*/ 57770 h 405970"/>
                <a:gd name="connsiteX14" fmla="*/ 127129 w 296400"/>
                <a:gd name="connsiteY14" fmla="*/ 57770 h 405970"/>
                <a:gd name="connsiteX15" fmla="*/ 211063 w 296400"/>
                <a:gd name="connsiteY15" fmla="*/ 120457 h 405970"/>
                <a:gd name="connsiteX16" fmla="*/ 127129 w 296400"/>
                <a:gd name="connsiteY16" fmla="*/ 189992 h 405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6400" h="405970">
                  <a:moveTo>
                    <a:pt x="280597" y="120457"/>
                  </a:moveTo>
                  <a:cubicBezTo>
                    <a:pt x="280597" y="29851"/>
                    <a:pt x="217384" y="0"/>
                    <a:pt x="134504" y="0"/>
                  </a:cubicBezTo>
                  <a:lnTo>
                    <a:pt x="0" y="0"/>
                  </a:lnTo>
                  <a:lnTo>
                    <a:pt x="0" y="405971"/>
                  </a:lnTo>
                  <a:lnTo>
                    <a:pt x="70588" y="405971"/>
                  </a:lnTo>
                  <a:lnTo>
                    <a:pt x="70588" y="247059"/>
                  </a:lnTo>
                  <a:lnTo>
                    <a:pt x="131519" y="247059"/>
                  </a:lnTo>
                  <a:lnTo>
                    <a:pt x="217384" y="405971"/>
                  </a:lnTo>
                  <a:lnTo>
                    <a:pt x="296401" y="405971"/>
                  </a:lnTo>
                  <a:lnTo>
                    <a:pt x="201405" y="236524"/>
                  </a:lnTo>
                  <a:cubicBezTo>
                    <a:pt x="248815" y="219842"/>
                    <a:pt x="280597" y="182617"/>
                    <a:pt x="280597" y="120457"/>
                  </a:cubicBezTo>
                  <a:close/>
                  <a:moveTo>
                    <a:pt x="127129" y="189992"/>
                  </a:moveTo>
                  <a:lnTo>
                    <a:pt x="70588" y="189992"/>
                  </a:lnTo>
                  <a:lnTo>
                    <a:pt x="70588" y="57770"/>
                  </a:lnTo>
                  <a:lnTo>
                    <a:pt x="127129" y="57770"/>
                  </a:lnTo>
                  <a:cubicBezTo>
                    <a:pt x="181212" y="57770"/>
                    <a:pt x="211063" y="73925"/>
                    <a:pt x="211063" y="120457"/>
                  </a:cubicBezTo>
                  <a:cubicBezTo>
                    <a:pt x="211238" y="166462"/>
                    <a:pt x="181387" y="189992"/>
                    <a:pt x="127129" y="189992"/>
                  </a:cubicBezTo>
                  <a:close/>
                </a:path>
              </a:pathLst>
            </a:custGeom>
            <a:solidFill>
              <a:srgbClr val="231B37"/>
            </a:solidFill>
            <a:ln w="17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Vrije vorm: vorm 13">
              <a:extLst>
                <a:ext uri="{FF2B5EF4-FFF2-40B4-BE49-F238E27FC236}">
                  <a16:creationId xmlns:a16="http://schemas.microsoft.com/office/drawing/2014/main" id="{C8B70439-1701-43E9-A65B-7DA20A917031}"/>
                </a:ext>
              </a:extLst>
            </p:cNvPr>
            <p:cNvSpPr/>
            <p:nvPr/>
          </p:nvSpPr>
          <p:spPr>
            <a:xfrm>
              <a:off x="4434189" y="3220571"/>
              <a:ext cx="300614" cy="406146"/>
            </a:xfrm>
            <a:custGeom>
              <a:avLst/>
              <a:gdLst>
                <a:gd name="connsiteX0" fmla="*/ 0 w 300614"/>
                <a:gd name="connsiteY0" fmla="*/ 60931 h 406146"/>
                <a:gd name="connsiteX1" fmla="*/ 115013 w 300614"/>
                <a:gd name="connsiteY1" fmla="*/ 60931 h 406146"/>
                <a:gd name="connsiteX2" fmla="*/ 115013 w 300614"/>
                <a:gd name="connsiteY2" fmla="*/ 406146 h 406146"/>
                <a:gd name="connsiteX3" fmla="*/ 185602 w 300614"/>
                <a:gd name="connsiteY3" fmla="*/ 406146 h 406146"/>
                <a:gd name="connsiteX4" fmla="*/ 185602 w 300614"/>
                <a:gd name="connsiteY4" fmla="*/ 60931 h 406146"/>
                <a:gd name="connsiteX5" fmla="*/ 300615 w 300614"/>
                <a:gd name="connsiteY5" fmla="*/ 60931 h 406146"/>
                <a:gd name="connsiteX6" fmla="*/ 300615 w 300614"/>
                <a:gd name="connsiteY6" fmla="*/ 0 h 406146"/>
                <a:gd name="connsiteX7" fmla="*/ 0 w 300614"/>
                <a:gd name="connsiteY7" fmla="*/ 0 h 406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0614" h="406146">
                  <a:moveTo>
                    <a:pt x="0" y="60931"/>
                  </a:moveTo>
                  <a:lnTo>
                    <a:pt x="115013" y="60931"/>
                  </a:lnTo>
                  <a:lnTo>
                    <a:pt x="115013" y="406146"/>
                  </a:lnTo>
                  <a:lnTo>
                    <a:pt x="185602" y="406146"/>
                  </a:lnTo>
                  <a:lnTo>
                    <a:pt x="185602" y="60931"/>
                  </a:lnTo>
                  <a:lnTo>
                    <a:pt x="300615" y="60931"/>
                  </a:lnTo>
                  <a:lnTo>
                    <a:pt x="3006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31B37"/>
            </a:solidFill>
            <a:ln w="17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Vrije vorm: vorm 14">
              <a:extLst>
                <a:ext uri="{FF2B5EF4-FFF2-40B4-BE49-F238E27FC236}">
                  <a16:creationId xmlns:a16="http://schemas.microsoft.com/office/drawing/2014/main" id="{161DF0D6-F610-4CE4-B5B5-11208C96D34F}"/>
                </a:ext>
              </a:extLst>
            </p:cNvPr>
            <p:cNvSpPr/>
            <p:nvPr/>
          </p:nvSpPr>
          <p:spPr>
            <a:xfrm>
              <a:off x="4807148" y="3220571"/>
              <a:ext cx="302370" cy="406146"/>
            </a:xfrm>
            <a:custGeom>
              <a:avLst/>
              <a:gdLst>
                <a:gd name="connsiteX0" fmla="*/ 231783 w 302370"/>
                <a:gd name="connsiteY0" fmla="*/ 163301 h 406146"/>
                <a:gd name="connsiteX1" fmla="*/ 70588 w 302370"/>
                <a:gd name="connsiteY1" fmla="*/ 163301 h 406146"/>
                <a:gd name="connsiteX2" fmla="*/ 70588 w 302370"/>
                <a:gd name="connsiteY2" fmla="*/ 0 h 406146"/>
                <a:gd name="connsiteX3" fmla="*/ 0 w 302370"/>
                <a:gd name="connsiteY3" fmla="*/ 0 h 406146"/>
                <a:gd name="connsiteX4" fmla="*/ 0 w 302370"/>
                <a:gd name="connsiteY4" fmla="*/ 406146 h 406146"/>
                <a:gd name="connsiteX5" fmla="*/ 70588 w 302370"/>
                <a:gd name="connsiteY5" fmla="*/ 406146 h 406146"/>
                <a:gd name="connsiteX6" fmla="*/ 70588 w 302370"/>
                <a:gd name="connsiteY6" fmla="*/ 225988 h 406146"/>
                <a:gd name="connsiteX7" fmla="*/ 231783 w 302370"/>
                <a:gd name="connsiteY7" fmla="*/ 225988 h 406146"/>
                <a:gd name="connsiteX8" fmla="*/ 231783 w 302370"/>
                <a:gd name="connsiteY8" fmla="*/ 406146 h 406146"/>
                <a:gd name="connsiteX9" fmla="*/ 302371 w 302370"/>
                <a:gd name="connsiteY9" fmla="*/ 406146 h 406146"/>
                <a:gd name="connsiteX10" fmla="*/ 302371 w 302370"/>
                <a:gd name="connsiteY10" fmla="*/ 0 h 406146"/>
                <a:gd name="connsiteX11" fmla="*/ 231783 w 302370"/>
                <a:gd name="connsiteY11" fmla="*/ 0 h 406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2370" h="406146">
                  <a:moveTo>
                    <a:pt x="231783" y="163301"/>
                  </a:moveTo>
                  <a:lnTo>
                    <a:pt x="70588" y="163301"/>
                  </a:lnTo>
                  <a:lnTo>
                    <a:pt x="70588" y="0"/>
                  </a:lnTo>
                  <a:lnTo>
                    <a:pt x="0" y="0"/>
                  </a:lnTo>
                  <a:lnTo>
                    <a:pt x="0" y="406146"/>
                  </a:lnTo>
                  <a:lnTo>
                    <a:pt x="70588" y="406146"/>
                  </a:lnTo>
                  <a:lnTo>
                    <a:pt x="70588" y="225988"/>
                  </a:lnTo>
                  <a:lnTo>
                    <a:pt x="231783" y="225988"/>
                  </a:lnTo>
                  <a:lnTo>
                    <a:pt x="231783" y="406146"/>
                  </a:lnTo>
                  <a:lnTo>
                    <a:pt x="302371" y="406146"/>
                  </a:lnTo>
                  <a:lnTo>
                    <a:pt x="302371" y="0"/>
                  </a:lnTo>
                  <a:lnTo>
                    <a:pt x="231783" y="0"/>
                  </a:lnTo>
                  <a:close/>
                </a:path>
              </a:pathLst>
            </a:custGeom>
            <a:solidFill>
              <a:srgbClr val="231B37"/>
            </a:solidFill>
            <a:ln w="17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Vrije vorm: vorm 15">
              <a:extLst>
                <a:ext uri="{FF2B5EF4-FFF2-40B4-BE49-F238E27FC236}">
                  <a16:creationId xmlns:a16="http://schemas.microsoft.com/office/drawing/2014/main" id="{DCAE00D0-43D7-4B0D-92E0-55CB9B482BCA}"/>
                </a:ext>
              </a:extLst>
            </p:cNvPr>
            <p:cNvSpPr/>
            <p:nvPr/>
          </p:nvSpPr>
          <p:spPr>
            <a:xfrm>
              <a:off x="5216806" y="3220571"/>
              <a:ext cx="245829" cy="406146"/>
            </a:xfrm>
            <a:custGeom>
              <a:avLst/>
              <a:gdLst>
                <a:gd name="connsiteX0" fmla="*/ 70588 w 245829"/>
                <a:gd name="connsiteY0" fmla="*/ 225461 h 406146"/>
                <a:gd name="connsiteX1" fmla="*/ 213521 w 245829"/>
                <a:gd name="connsiteY1" fmla="*/ 225461 h 406146"/>
                <a:gd name="connsiteX2" fmla="*/ 213521 w 245829"/>
                <a:gd name="connsiteY2" fmla="*/ 164531 h 406146"/>
                <a:gd name="connsiteX3" fmla="*/ 70588 w 245829"/>
                <a:gd name="connsiteY3" fmla="*/ 164531 h 406146"/>
                <a:gd name="connsiteX4" fmla="*/ 70588 w 245829"/>
                <a:gd name="connsiteY4" fmla="*/ 60931 h 406146"/>
                <a:gd name="connsiteX5" fmla="*/ 239684 w 245829"/>
                <a:gd name="connsiteY5" fmla="*/ 60931 h 406146"/>
                <a:gd name="connsiteX6" fmla="*/ 239684 w 245829"/>
                <a:gd name="connsiteY6" fmla="*/ 0 h 406146"/>
                <a:gd name="connsiteX7" fmla="*/ 0 w 245829"/>
                <a:gd name="connsiteY7" fmla="*/ 0 h 406146"/>
                <a:gd name="connsiteX8" fmla="*/ 0 w 245829"/>
                <a:gd name="connsiteY8" fmla="*/ 406146 h 406146"/>
                <a:gd name="connsiteX9" fmla="*/ 245830 w 245829"/>
                <a:gd name="connsiteY9" fmla="*/ 406146 h 406146"/>
                <a:gd name="connsiteX10" fmla="*/ 245830 w 245829"/>
                <a:gd name="connsiteY10" fmla="*/ 345216 h 406146"/>
                <a:gd name="connsiteX11" fmla="*/ 70588 w 245829"/>
                <a:gd name="connsiteY11" fmla="*/ 345216 h 406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5829" h="406146">
                  <a:moveTo>
                    <a:pt x="70588" y="225461"/>
                  </a:moveTo>
                  <a:lnTo>
                    <a:pt x="213521" y="225461"/>
                  </a:lnTo>
                  <a:lnTo>
                    <a:pt x="213521" y="164531"/>
                  </a:lnTo>
                  <a:lnTo>
                    <a:pt x="70588" y="164531"/>
                  </a:lnTo>
                  <a:lnTo>
                    <a:pt x="70588" y="60931"/>
                  </a:lnTo>
                  <a:lnTo>
                    <a:pt x="239684" y="60931"/>
                  </a:lnTo>
                  <a:lnTo>
                    <a:pt x="239684" y="0"/>
                  </a:lnTo>
                  <a:lnTo>
                    <a:pt x="0" y="0"/>
                  </a:lnTo>
                  <a:lnTo>
                    <a:pt x="0" y="406146"/>
                  </a:lnTo>
                  <a:lnTo>
                    <a:pt x="245830" y="406146"/>
                  </a:lnTo>
                  <a:lnTo>
                    <a:pt x="245830" y="345216"/>
                  </a:lnTo>
                  <a:lnTo>
                    <a:pt x="70588" y="345216"/>
                  </a:lnTo>
                  <a:close/>
                </a:path>
              </a:pathLst>
            </a:custGeom>
            <a:solidFill>
              <a:srgbClr val="231B37"/>
            </a:solidFill>
            <a:ln w="17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Vrije vorm: vorm 16">
              <a:extLst>
                <a:ext uri="{FF2B5EF4-FFF2-40B4-BE49-F238E27FC236}">
                  <a16:creationId xmlns:a16="http://schemas.microsoft.com/office/drawing/2014/main" id="{F79C827D-F859-4E32-8030-60236333F1E8}"/>
                </a:ext>
              </a:extLst>
            </p:cNvPr>
            <p:cNvSpPr/>
            <p:nvPr/>
          </p:nvSpPr>
          <p:spPr>
            <a:xfrm>
              <a:off x="5549554" y="3220571"/>
              <a:ext cx="296400" cy="405970"/>
            </a:xfrm>
            <a:custGeom>
              <a:avLst/>
              <a:gdLst>
                <a:gd name="connsiteX0" fmla="*/ 280597 w 296400"/>
                <a:gd name="connsiteY0" fmla="*/ 120457 h 405970"/>
                <a:gd name="connsiteX1" fmla="*/ 134504 w 296400"/>
                <a:gd name="connsiteY1" fmla="*/ 0 h 405970"/>
                <a:gd name="connsiteX2" fmla="*/ 0 w 296400"/>
                <a:gd name="connsiteY2" fmla="*/ 0 h 405970"/>
                <a:gd name="connsiteX3" fmla="*/ 0 w 296400"/>
                <a:gd name="connsiteY3" fmla="*/ 405971 h 405970"/>
                <a:gd name="connsiteX4" fmla="*/ 70588 w 296400"/>
                <a:gd name="connsiteY4" fmla="*/ 405971 h 405970"/>
                <a:gd name="connsiteX5" fmla="*/ 70588 w 296400"/>
                <a:gd name="connsiteY5" fmla="*/ 247059 h 405970"/>
                <a:gd name="connsiteX6" fmla="*/ 131519 w 296400"/>
                <a:gd name="connsiteY6" fmla="*/ 247059 h 405970"/>
                <a:gd name="connsiteX7" fmla="*/ 217384 w 296400"/>
                <a:gd name="connsiteY7" fmla="*/ 405971 h 405970"/>
                <a:gd name="connsiteX8" fmla="*/ 296400 w 296400"/>
                <a:gd name="connsiteY8" fmla="*/ 405971 h 405970"/>
                <a:gd name="connsiteX9" fmla="*/ 201405 w 296400"/>
                <a:gd name="connsiteY9" fmla="*/ 236524 h 405970"/>
                <a:gd name="connsiteX10" fmla="*/ 280597 w 296400"/>
                <a:gd name="connsiteY10" fmla="*/ 120457 h 405970"/>
                <a:gd name="connsiteX11" fmla="*/ 127305 w 296400"/>
                <a:gd name="connsiteY11" fmla="*/ 189992 h 405970"/>
                <a:gd name="connsiteX12" fmla="*/ 70764 w 296400"/>
                <a:gd name="connsiteY12" fmla="*/ 189992 h 405970"/>
                <a:gd name="connsiteX13" fmla="*/ 70764 w 296400"/>
                <a:gd name="connsiteY13" fmla="*/ 57770 h 405970"/>
                <a:gd name="connsiteX14" fmla="*/ 127305 w 296400"/>
                <a:gd name="connsiteY14" fmla="*/ 57770 h 405970"/>
                <a:gd name="connsiteX15" fmla="*/ 211238 w 296400"/>
                <a:gd name="connsiteY15" fmla="*/ 120457 h 405970"/>
                <a:gd name="connsiteX16" fmla="*/ 127305 w 296400"/>
                <a:gd name="connsiteY16" fmla="*/ 189992 h 405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6400" h="405970">
                  <a:moveTo>
                    <a:pt x="280597" y="120457"/>
                  </a:moveTo>
                  <a:cubicBezTo>
                    <a:pt x="280597" y="29851"/>
                    <a:pt x="217384" y="0"/>
                    <a:pt x="134504" y="0"/>
                  </a:cubicBezTo>
                  <a:lnTo>
                    <a:pt x="0" y="0"/>
                  </a:lnTo>
                  <a:lnTo>
                    <a:pt x="0" y="405971"/>
                  </a:lnTo>
                  <a:lnTo>
                    <a:pt x="70588" y="405971"/>
                  </a:lnTo>
                  <a:lnTo>
                    <a:pt x="70588" y="247059"/>
                  </a:lnTo>
                  <a:lnTo>
                    <a:pt x="131519" y="247059"/>
                  </a:lnTo>
                  <a:lnTo>
                    <a:pt x="217384" y="405971"/>
                  </a:lnTo>
                  <a:lnTo>
                    <a:pt x="296400" y="405971"/>
                  </a:lnTo>
                  <a:lnTo>
                    <a:pt x="201405" y="236524"/>
                  </a:lnTo>
                  <a:cubicBezTo>
                    <a:pt x="248990" y="219842"/>
                    <a:pt x="280597" y="182617"/>
                    <a:pt x="280597" y="120457"/>
                  </a:cubicBezTo>
                  <a:close/>
                  <a:moveTo>
                    <a:pt x="127305" y="189992"/>
                  </a:moveTo>
                  <a:lnTo>
                    <a:pt x="70764" y="189992"/>
                  </a:lnTo>
                  <a:lnTo>
                    <a:pt x="70764" y="57770"/>
                  </a:lnTo>
                  <a:lnTo>
                    <a:pt x="127305" y="57770"/>
                  </a:lnTo>
                  <a:cubicBezTo>
                    <a:pt x="181387" y="57770"/>
                    <a:pt x="211238" y="73925"/>
                    <a:pt x="211238" y="120457"/>
                  </a:cubicBezTo>
                  <a:cubicBezTo>
                    <a:pt x="211238" y="166462"/>
                    <a:pt x="181387" y="189992"/>
                    <a:pt x="127305" y="189992"/>
                  </a:cubicBezTo>
                  <a:close/>
                </a:path>
              </a:pathLst>
            </a:custGeom>
            <a:solidFill>
              <a:srgbClr val="231B37"/>
            </a:solidFill>
            <a:ln w="17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Vrije vorm: vorm 17">
              <a:extLst>
                <a:ext uri="{FF2B5EF4-FFF2-40B4-BE49-F238E27FC236}">
                  <a16:creationId xmlns:a16="http://schemas.microsoft.com/office/drawing/2014/main" id="{604DE361-1F44-4C56-A645-111C0FC988F1}"/>
                </a:ext>
              </a:extLst>
            </p:cNvPr>
            <p:cNvSpPr/>
            <p:nvPr/>
          </p:nvSpPr>
          <p:spPr>
            <a:xfrm>
              <a:off x="5915840" y="3220571"/>
              <a:ext cx="352414" cy="406146"/>
            </a:xfrm>
            <a:custGeom>
              <a:avLst/>
              <a:gdLst>
                <a:gd name="connsiteX0" fmla="*/ 203336 w 352414"/>
                <a:gd name="connsiteY0" fmla="*/ 198771 h 406146"/>
                <a:gd name="connsiteX1" fmla="*/ 178402 w 352414"/>
                <a:gd name="connsiteY1" fmla="*/ 278315 h 406146"/>
                <a:gd name="connsiteX2" fmla="*/ 175944 w 352414"/>
                <a:gd name="connsiteY2" fmla="*/ 278315 h 406146"/>
                <a:gd name="connsiteX3" fmla="*/ 150307 w 352414"/>
                <a:gd name="connsiteY3" fmla="*/ 198771 h 406146"/>
                <a:gd name="connsiteX4" fmla="*/ 79719 w 352414"/>
                <a:gd name="connsiteY4" fmla="*/ 176 h 406146"/>
                <a:gd name="connsiteX5" fmla="*/ 0 w 352414"/>
                <a:gd name="connsiteY5" fmla="*/ 176 h 406146"/>
                <a:gd name="connsiteX6" fmla="*/ 0 w 352414"/>
                <a:gd name="connsiteY6" fmla="*/ 406146 h 406146"/>
                <a:gd name="connsiteX7" fmla="*/ 63916 w 352414"/>
                <a:gd name="connsiteY7" fmla="*/ 406146 h 406146"/>
                <a:gd name="connsiteX8" fmla="*/ 63916 w 352414"/>
                <a:gd name="connsiteY8" fmla="*/ 220545 h 406146"/>
                <a:gd name="connsiteX9" fmla="*/ 54785 w 352414"/>
                <a:gd name="connsiteY9" fmla="*/ 91484 h 406146"/>
                <a:gd name="connsiteX10" fmla="*/ 57243 w 352414"/>
                <a:gd name="connsiteY10" fmla="*/ 91484 h 406146"/>
                <a:gd name="connsiteX11" fmla="*/ 88850 w 352414"/>
                <a:gd name="connsiteY11" fmla="*/ 185777 h 406146"/>
                <a:gd name="connsiteX12" fmla="*/ 154521 w 352414"/>
                <a:gd name="connsiteY12" fmla="*/ 368218 h 406146"/>
                <a:gd name="connsiteX13" fmla="*/ 196488 w 352414"/>
                <a:gd name="connsiteY13" fmla="*/ 368218 h 406146"/>
                <a:gd name="connsiteX14" fmla="*/ 261633 w 352414"/>
                <a:gd name="connsiteY14" fmla="*/ 185777 h 406146"/>
                <a:gd name="connsiteX15" fmla="*/ 293942 w 352414"/>
                <a:gd name="connsiteY15" fmla="*/ 91484 h 406146"/>
                <a:gd name="connsiteX16" fmla="*/ 296400 w 352414"/>
                <a:gd name="connsiteY16" fmla="*/ 91484 h 406146"/>
                <a:gd name="connsiteX17" fmla="*/ 287270 w 352414"/>
                <a:gd name="connsiteY17" fmla="*/ 220545 h 406146"/>
                <a:gd name="connsiteX18" fmla="*/ 287270 w 352414"/>
                <a:gd name="connsiteY18" fmla="*/ 406146 h 406146"/>
                <a:gd name="connsiteX19" fmla="*/ 352415 w 352414"/>
                <a:gd name="connsiteY19" fmla="*/ 406146 h 406146"/>
                <a:gd name="connsiteX20" fmla="*/ 352415 w 352414"/>
                <a:gd name="connsiteY20" fmla="*/ 0 h 406146"/>
                <a:gd name="connsiteX21" fmla="*/ 272169 w 352414"/>
                <a:gd name="connsiteY21" fmla="*/ 0 h 406146"/>
                <a:gd name="connsiteX22" fmla="*/ 203336 w 352414"/>
                <a:gd name="connsiteY22" fmla="*/ 198771 h 406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52414" h="406146">
                  <a:moveTo>
                    <a:pt x="203336" y="198771"/>
                  </a:moveTo>
                  <a:cubicBezTo>
                    <a:pt x="194732" y="224232"/>
                    <a:pt x="186831" y="251625"/>
                    <a:pt x="178402" y="278315"/>
                  </a:cubicBezTo>
                  <a:lnTo>
                    <a:pt x="175944" y="278315"/>
                  </a:lnTo>
                  <a:cubicBezTo>
                    <a:pt x="167515" y="251625"/>
                    <a:pt x="158911" y="224232"/>
                    <a:pt x="150307" y="198771"/>
                  </a:cubicBezTo>
                  <a:lnTo>
                    <a:pt x="79719" y="176"/>
                  </a:lnTo>
                  <a:lnTo>
                    <a:pt x="0" y="176"/>
                  </a:lnTo>
                  <a:lnTo>
                    <a:pt x="0" y="406146"/>
                  </a:lnTo>
                  <a:lnTo>
                    <a:pt x="63916" y="406146"/>
                  </a:lnTo>
                  <a:lnTo>
                    <a:pt x="63916" y="220545"/>
                  </a:lnTo>
                  <a:cubicBezTo>
                    <a:pt x="63916" y="182617"/>
                    <a:pt x="57770" y="128710"/>
                    <a:pt x="54785" y="91484"/>
                  </a:cubicBezTo>
                  <a:lnTo>
                    <a:pt x="57243" y="91484"/>
                  </a:lnTo>
                  <a:lnTo>
                    <a:pt x="88850" y="185777"/>
                  </a:lnTo>
                  <a:lnTo>
                    <a:pt x="154521" y="368218"/>
                  </a:lnTo>
                  <a:lnTo>
                    <a:pt x="196488" y="368218"/>
                  </a:lnTo>
                  <a:lnTo>
                    <a:pt x="261633" y="185777"/>
                  </a:lnTo>
                  <a:lnTo>
                    <a:pt x="293942" y="91484"/>
                  </a:lnTo>
                  <a:lnTo>
                    <a:pt x="296400" y="91484"/>
                  </a:lnTo>
                  <a:cubicBezTo>
                    <a:pt x="292713" y="128710"/>
                    <a:pt x="287270" y="182792"/>
                    <a:pt x="287270" y="220545"/>
                  </a:cubicBezTo>
                  <a:lnTo>
                    <a:pt x="287270" y="406146"/>
                  </a:lnTo>
                  <a:lnTo>
                    <a:pt x="352415" y="406146"/>
                  </a:lnTo>
                  <a:lnTo>
                    <a:pt x="352415" y="0"/>
                  </a:lnTo>
                  <a:lnTo>
                    <a:pt x="272169" y="0"/>
                  </a:lnTo>
                  <a:lnTo>
                    <a:pt x="203336" y="198771"/>
                  </a:lnTo>
                  <a:close/>
                </a:path>
              </a:pathLst>
            </a:custGeom>
            <a:solidFill>
              <a:srgbClr val="231B37"/>
            </a:solidFill>
            <a:ln w="17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Vrije vorm: vorm 18">
              <a:extLst>
                <a:ext uri="{FF2B5EF4-FFF2-40B4-BE49-F238E27FC236}">
                  <a16:creationId xmlns:a16="http://schemas.microsoft.com/office/drawing/2014/main" id="{C32FBC8A-F8C8-498A-AC05-F1C51BBF5CA4}"/>
                </a:ext>
              </a:extLst>
            </p:cNvPr>
            <p:cNvSpPr/>
            <p:nvPr/>
          </p:nvSpPr>
          <p:spPr>
            <a:xfrm>
              <a:off x="6374840" y="3220571"/>
              <a:ext cx="245829" cy="406146"/>
            </a:xfrm>
            <a:custGeom>
              <a:avLst/>
              <a:gdLst>
                <a:gd name="connsiteX0" fmla="*/ 70588 w 245829"/>
                <a:gd name="connsiteY0" fmla="*/ 225461 h 406146"/>
                <a:gd name="connsiteX1" fmla="*/ 213521 w 245829"/>
                <a:gd name="connsiteY1" fmla="*/ 225461 h 406146"/>
                <a:gd name="connsiteX2" fmla="*/ 213521 w 245829"/>
                <a:gd name="connsiteY2" fmla="*/ 164531 h 406146"/>
                <a:gd name="connsiteX3" fmla="*/ 70588 w 245829"/>
                <a:gd name="connsiteY3" fmla="*/ 164531 h 406146"/>
                <a:gd name="connsiteX4" fmla="*/ 70588 w 245829"/>
                <a:gd name="connsiteY4" fmla="*/ 60931 h 406146"/>
                <a:gd name="connsiteX5" fmla="*/ 239860 w 245829"/>
                <a:gd name="connsiteY5" fmla="*/ 60931 h 406146"/>
                <a:gd name="connsiteX6" fmla="*/ 239860 w 245829"/>
                <a:gd name="connsiteY6" fmla="*/ 0 h 406146"/>
                <a:gd name="connsiteX7" fmla="*/ 0 w 245829"/>
                <a:gd name="connsiteY7" fmla="*/ 0 h 406146"/>
                <a:gd name="connsiteX8" fmla="*/ 0 w 245829"/>
                <a:gd name="connsiteY8" fmla="*/ 406146 h 406146"/>
                <a:gd name="connsiteX9" fmla="*/ 245830 w 245829"/>
                <a:gd name="connsiteY9" fmla="*/ 406146 h 406146"/>
                <a:gd name="connsiteX10" fmla="*/ 245830 w 245829"/>
                <a:gd name="connsiteY10" fmla="*/ 345216 h 406146"/>
                <a:gd name="connsiteX11" fmla="*/ 70588 w 245829"/>
                <a:gd name="connsiteY11" fmla="*/ 345216 h 406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5829" h="406146">
                  <a:moveTo>
                    <a:pt x="70588" y="225461"/>
                  </a:moveTo>
                  <a:lnTo>
                    <a:pt x="213521" y="225461"/>
                  </a:lnTo>
                  <a:lnTo>
                    <a:pt x="213521" y="164531"/>
                  </a:lnTo>
                  <a:lnTo>
                    <a:pt x="70588" y="164531"/>
                  </a:lnTo>
                  <a:lnTo>
                    <a:pt x="70588" y="60931"/>
                  </a:lnTo>
                  <a:lnTo>
                    <a:pt x="239860" y="60931"/>
                  </a:lnTo>
                  <a:lnTo>
                    <a:pt x="239860" y="0"/>
                  </a:lnTo>
                  <a:lnTo>
                    <a:pt x="0" y="0"/>
                  </a:lnTo>
                  <a:lnTo>
                    <a:pt x="0" y="406146"/>
                  </a:lnTo>
                  <a:lnTo>
                    <a:pt x="245830" y="406146"/>
                  </a:lnTo>
                  <a:lnTo>
                    <a:pt x="245830" y="345216"/>
                  </a:lnTo>
                  <a:lnTo>
                    <a:pt x="70588" y="345216"/>
                  </a:lnTo>
                  <a:close/>
                </a:path>
              </a:pathLst>
            </a:custGeom>
            <a:solidFill>
              <a:srgbClr val="231B37"/>
            </a:solidFill>
            <a:ln w="17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Vrije vorm: vorm 19">
              <a:extLst>
                <a:ext uri="{FF2B5EF4-FFF2-40B4-BE49-F238E27FC236}">
                  <a16:creationId xmlns:a16="http://schemas.microsoft.com/office/drawing/2014/main" id="{948DDCD5-8880-43D1-A114-F313AB992472}"/>
                </a:ext>
              </a:extLst>
            </p:cNvPr>
            <p:cNvSpPr/>
            <p:nvPr/>
          </p:nvSpPr>
          <p:spPr>
            <a:xfrm>
              <a:off x="6662110" y="3220571"/>
              <a:ext cx="342054" cy="406146"/>
            </a:xfrm>
            <a:custGeom>
              <a:avLst/>
              <a:gdLst>
                <a:gd name="connsiteX0" fmla="*/ 129587 w 342054"/>
                <a:gd name="connsiteY0" fmla="*/ 0 h 406146"/>
                <a:gd name="connsiteX1" fmla="*/ 0 w 342054"/>
                <a:gd name="connsiteY1" fmla="*/ 405971 h 406146"/>
                <a:gd name="connsiteX2" fmla="*/ 71817 w 342054"/>
                <a:gd name="connsiteY2" fmla="*/ 405971 h 406146"/>
                <a:gd name="connsiteX3" fmla="*/ 102897 w 342054"/>
                <a:gd name="connsiteY3" fmla="*/ 296225 h 406146"/>
                <a:gd name="connsiteX4" fmla="*/ 236699 w 342054"/>
                <a:gd name="connsiteY4" fmla="*/ 296225 h 406146"/>
                <a:gd name="connsiteX5" fmla="*/ 267779 w 342054"/>
                <a:gd name="connsiteY5" fmla="*/ 406146 h 406146"/>
                <a:gd name="connsiteX6" fmla="*/ 342055 w 342054"/>
                <a:gd name="connsiteY6" fmla="*/ 406146 h 406146"/>
                <a:gd name="connsiteX7" fmla="*/ 212467 w 342054"/>
                <a:gd name="connsiteY7" fmla="*/ 176 h 406146"/>
                <a:gd name="connsiteX8" fmla="*/ 129587 w 342054"/>
                <a:gd name="connsiteY8" fmla="*/ 176 h 406146"/>
                <a:gd name="connsiteX9" fmla="*/ 119227 w 342054"/>
                <a:gd name="connsiteY9" fmla="*/ 239684 h 406146"/>
                <a:gd name="connsiteX10" fmla="*/ 133275 w 342054"/>
                <a:gd name="connsiteY10" fmla="*/ 189992 h 406146"/>
                <a:gd name="connsiteX11" fmla="*/ 168569 w 342054"/>
                <a:gd name="connsiteY11" fmla="*/ 55839 h 406146"/>
                <a:gd name="connsiteX12" fmla="*/ 171027 w 342054"/>
                <a:gd name="connsiteY12" fmla="*/ 55839 h 406146"/>
                <a:gd name="connsiteX13" fmla="*/ 206848 w 342054"/>
                <a:gd name="connsiteY13" fmla="*/ 189992 h 406146"/>
                <a:gd name="connsiteX14" fmla="*/ 220896 w 342054"/>
                <a:gd name="connsiteY14" fmla="*/ 239684 h 406146"/>
                <a:gd name="connsiteX15" fmla="*/ 119227 w 342054"/>
                <a:gd name="connsiteY15" fmla="*/ 239684 h 406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42054" h="406146">
                  <a:moveTo>
                    <a:pt x="129587" y="0"/>
                  </a:moveTo>
                  <a:lnTo>
                    <a:pt x="0" y="405971"/>
                  </a:lnTo>
                  <a:lnTo>
                    <a:pt x="71817" y="405971"/>
                  </a:lnTo>
                  <a:lnTo>
                    <a:pt x="102897" y="296225"/>
                  </a:lnTo>
                  <a:lnTo>
                    <a:pt x="236699" y="296225"/>
                  </a:lnTo>
                  <a:lnTo>
                    <a:pt x="267779" y="406146"/>
                  </a:lnTo>
                  <a:lnTo>
                    <a:pt x="342055" y="406146"/>
                  </a:lnTo>
                  <a:lnTo>
                    <a:pt x="212467" y="176"/>
                  </a:lnTo>
                  <a:lnTo>
                    <a:pt x="129587" y="176"/>
                  </a:lnTo>
                  <a:close/>
                  <a:moveTo>
                    <a:pt x="119227" y="239684"/>
                  </a:moveTo>
                  <a:lnTo>
                    <a:pt x="133275" y="189992"/>
                  </a:lnTo>
                  <a:cubicBezTo>
                    <a:pt x="146093" y="147147"/>
                    <a:pt x="157682" y="101142"/>
                    <a:pt x="168569" y="55839"/>
                  </a:cubicBezTo>
                  <a:lnTo>
                    <a:pt x="171027" y="55839"/>
                  </a:lnTo>
                  <a:cubicBezTo>
                    <a:pt x="182616" y="100615"/>
                    <a:pt x="194206" y="147147"/>
                    <a:pt x="206848" y="189992"/>
                  </a:cubicBezTo>
                  <a:lnTo>
                    <a:pt x="220896" y="239684"/>
                  </a:lnTo>
                  <a:lnTo>
                    <a:pt x="119227" y="239684"/>
                  </a:lnTo>
                  <a:close/>
                </a:path>
              </a:pathLst>
            </a:custGeom>
            <a:solidFill>
              <a:srgbClr val="231B37"/>
            </a:solidFill>
            <a:ln w="17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Vrije vorm: vorm 20">
              <a:extLst>
                <a:ext uri="{FF2B5EF4-FFF2-40B4-BE49-F238E27FC236}">
                  <a16:creationId xmlns:a16="http://schemas.microsoft.com/office/drawing/2014/main" id="{0F43F529-DCFA-4CF0-8698-8B34478CDC29}"/>
                </a:ext>
              </a:extLst>
            </p:cNvPr>
            <p:cNvSpPr/>
            <p:nvPr/>
          </p:nvSpPr>
          <p:spPr>
            <a:xfrm>
              <a:off x="7150960" y="3218289"/>
              <a:ext cx="290781" cy="415628"/>
            </a:xfrm>
            <a:custGeom>
              <a:avLst/>
              <a:gdLst>
                <a:gd name="connsiteX0" fmla="*/ 167867 w 290781"/>
                <a:gd name="connsiteY0" fmla="*/ 234943 h 415628"/>
                <a:gd name="connsiteX1" fmla="*/ 264091 w 290781"/>
                <a:gd name="connsiteY1" fmla="*/ 234943 h 415628"/>
                <a:gd name="connsiteX2" fmla="*/ 264091 w 290781"/>
                <a:gd name="connsiteY2" fmla="*/ 359790 h 415628"/>
                <a:gd name="connsiteX3" fmla="*/ 225461 w 290781"/>
                <a:gd name="connsiteY3" fmla="*/ 382266 h 415628"/>
                <a:gd name="connsiteX4" fmla="*/ 174012 w 290781"/>
                <a:gd name="connsiteY4" fmla="*/ 390167 h 415628"/>
                <a:gd name="connsiteX5" fmla="*/ 112906 w 290781"/>
                <a:gd name="connsiteY5" fmla="*/ 376998 h 415628"/>
                <a:gd name="connsiteX6" fmla="*/ 67252 w 290781"/>
                <a:gd name="connsiteY6" fmla="*/ 340124 h 415628"/>
                <a:gd name="connsiteX7" fmla="*/ 38982 w 290781"/>
                <a:gd name="connsiteY7" fmla="*/ 282529 h 415628"/>
                <a:gd name="connsiteX8" fmla="*/ 29324 w 290781"/>
                <a:gd name="connsiteY8" fmla="*/ 206848 h 415628"/>
                <a:gd name="connsiteX9" fmla="*/ 39684 w 290781"/>
                <a:gd name="connsiteY9" fmla="*/ 131344 h 415628"/>
                <a:gd name="connsiteX10" fmla="*/ 69184 w 290781"/>
                <a:gd name="connsiteY10" fmla="*/ 74451 h 415628"/>
                <a:gd name="connsiteX11" fmla="*/ 115716 w 290781"/>
                <a:gd name="connsiteY11" fmla="*/ 38279 h 415628"/>
                <a:gd name="connsiteX12" fmla="*/ 177876 w 290781"/>
                <a:gd name="connsiteY12" fmla="*/ 25461 h 415628"/>
                <a:gd name="connsiteX13" fmla="*/ 232660 w 290781"/>
                <a:gd name="connsiteY13" fmla="*/ 37577 h 415628"/>
                <a:gd name="connsiteX14" fmla="*/ 270413 w 290781"/>
                <a:gd name="connsiteY14" fmla="*/ 66725 h 415628"/>
                <a:gd name="connsiteX15" fmla="*/ 286919 w 290781"/>
                <a:gd name="connsiteY15" fmla="*/ 47937 h 415628"/>
                <a:gd name="connsiteX16" fmla="*/ 268306 w 290781"/>
                <a:gd name="connsiteY16" fmla="*/ 30904 h 415628"/>
                <a:gd name="connsiteX17" fmla="*/ 244250 w 290781"/>
                <a:gd name="connsiteY17" fmla="*/ 15452 h 415628"/>
                <a:gd name="connsiteX18" fmla="*/ 214048 w 290781"/>
                <a:gd name="connsiteY18" fmla="*/ 4214 h 415628"/>
                <a:gd name="connsiteX19" fmla="*/ 177173 w 290781"/>
                <a:gd name="connsiteY19" fmla="*/ 0 h 415628"/>
                <a:gd name="connsiteX20" fmla="*/ 104653 w 290781"/>
                <a:gd name="connsiteY20" fmla="*/ 14223 h 415628"/>
                <a:gd name="connsiteX21" fmla="*/ 48639 w 290781"/>
                <a:gd name="connsiteY21" fmla="*/ 55663 h 415628"/>
                <a:gd name="connsiteX22" fmla="*/ 12818 w 290781"/>
                <a:gd name="connsiteY22" fmla="*/ 121159 h 415628"/>
                <a:gd name="connsiteX23" fmla="*/ 0 w 290781"/>
                <a:gd name="connsiteY23" fmla="*/ 207024 h 415628"/>
                <a:gd name="connsiteX24" fmla="*/ 12467 w 290781"/>
                <a:gd name="connsiteY24" fmla="*/ 293767 h 415628"/>
                <a:gd name="connsiteX25" fmla="*/ 47410 w 290781"/>
                <a:gd name="connsiteY25" fmla="*/ 359439 h 415628"/>
                <a:gd name="connsiteX26" fmla="*/ 101493 w 290781"/>
                <a:gd name="connsiteY26" fmla="*/ 401054 h 415628"/>
                <a:gd name="connsiteX27" fmla="*/ 172081 w 290781"/>
                <a:gd name="connsiteY27" fmla="*/ 415628 h 415628"/>
                <a:gd name="connsiteX28" fmla="*/ 241791 w 290781"/>
                <a:gd name="connsiteY28" fmla="*/ 402810 h 415628"/>
                <a:gd name="connsiteX29" fmla="*/ 290782 w 290781"/>
                <a:gd name="connsiteY29" fmla="*/ 369974 h 415628"/>
                <a:gd name="connsiteX30" fmla="*/ 290782 w 290781"/>
                <a:gd name="connsiteY30" fmla="*/ 211063 h 415628"/>
                <a:gd name="connsiteX31" fmla="*/ 167867 w 290781"/>
                <a:gd name="connsiteY31" fmla="*/ 211063 h 415628"/>
                <a:gd name="connsiteX32" fmla="*/ 167867 w 290781"/>
                <a:gd name="connsiteY32" fmla="*/ 234943 h 415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90781" h="415628">
                  <a:moveTo>
                    <a:pt x="167867" y="234943"/>
                  </a:moveTo>
                  <a:lnTo>
                    <a:pt x="264091" y="234943"/>
                  </a:lnTo>
                  <a:lnTo>
                    <a:pt x="264091" y="359790"/>
                  </a:lnTo>
                  <a:cubicBezTo>
                    <a:pt x="254434" y="369448"/>
                    <a:pt x="241440" y="376998"/>
                    <a:pt x="225461" y="382266"/>
                  </a:cubicBezTo>
                  <a:cubicBezTo>
                    <a:pt x="209482" y="387534"/>
                    <a:pt x="192274" y="390167"/>
                    <a:pt x="174012" y="390167"/>
                  </a:cubicBezTo>
                  <a:cubicBezTo>
                    <a:pt x="151361" y="390167"/>
                    <a:pt x="130817" y="385778"/>
                    <a:pt x="112906" y="376998"/>
                  </a:cubicBezTo>
                  <a:cubicBezTo>
                    <a:pt x="94820" y="368218"/>
                    <a:pt x="79719" y="355927"/>
                    <a:pt x="67252" y="340124"/>
                  </a:cubicBezTo>
                  <a:cubicBezTo>
                    <a:pt x="54785" y="324320"/>
                    <a:pt x="45478" y="305180"/>
                    <a:pt x="38982" y="282529"/>
                  </a:cubicBezTo>
                  <a:cubicBezTo>
                    <a:pt x="32484" y="260053"/>
                    <a:pt x="29324" y="234768"/>
                    <a:pt x="29324" y="206848"/>
                  </a:cubicBezTo>
                  <a:cubicBezTo>
                    <a:pt x="29324" y="178929"/>
                    <a:pt x="32836" y="153644"/>
                    <a:pt x="39684" y="131344"/>
                  </a:cubicBezTo>
                  <a:cubicBezTo>
                    <a:pt x="46532" y="109043"/>
                    <a:pt x="56365" y="90079"/>
                    <a:pt x="69184" y="74451"/>
                  </a:cubicBezTo>
                  <a:cubicBezTo>
                    <a:pt x="82002" y="58824"/>
                    <a:pt x="97454" y="46708"/>
                    <a:pt x="115716" y="38279"/>
                  </a:cubicBezTo>
                  <a:cubicBezTo>
                    <a:pt x="133977" y="29675"/>
                    <a:pt x="154697" y="25461"/>
                    <a:pt x="177876" y="25461"/>
                  </a:cubicBezTo>
                  <a:cubicBezTo>
                    <a:pt x="199825" y="25461"/>
                    <a:pt x="218086" y="29500"/>
                    <a:pt x="232660" y="37577"/>
                  </a:cubicBezTo>
                  <a:cubicBezTo>
                    <a:pt x="247235" y="45654"/>
                    <a:pt x="259877" y="55487"/>
                    <a:pt x="270413" y="66725"/>
                  </a:cubicBezTo>
                  <a:lnTo>
                    <a:pt x="286919" y="47937"/>
                  </a:lnTo>
                  <a:cubicBezTo>
                    <a:pt x="281651" y="42318"/>
                    <a:pt x="275505" y="36523"/>
                    <a:pt x="268306" y="30904"/>
                  </a:cubicBezTo>
                  <a:cubicBezTo>
                    <a:pt x="261106" y="25285"/>
                    <a:pt x="253205" y="20018"/>
                    <a:pt x="244250" y="15452"/>
                  </a:cubicBezTo>
                  <a:cubicBezTo>
                    <a:pt x="235294" y="10711"/>
                    <a:pt x="225286" y="7024"/>
                    <a:pt x="214048" y="4214"/>
                  </a:cubicBezTo>
                  <a:cubicBezTo>
                    <a:pt x="202810" y="1405"/>
                    <a:pt x="190694" y="0"/>
                    <a:pt x="177173" y="0"/>
                  </a:cubicBezTo>
                  <a:cubicBezTo>
                    <a:pt x="150834" y="0"/>
                    <a:pt x="126602" y="4741"/>
                    <a:pt x="104653" y="14223"/>
                  </a:cubicBezTo>
                  <a:cubicBezTo>
                    <a:pt x="82704" y="23705"/>
                    <a:pt x="64091" y="37577"/>
                    <a:pt x="48639" y="55663"/>
                  </a:cubicBezTo>
                  <a:cubicBezTo>
                    <a:pt x="33187" y="73749"/>
                    <a:pt x="21247" y="95523"/>
                    <a:pt x="12818" y="121159"/>
                  </a:cubicBezTo>
                  <a:cubicBezTo>
                    <a:pt x="4390" y="146796"/>
                    <a:pt x="0" y="175242"/>
                    <a:pt x="0" y="207024"/>
                  </a:cubicBezTo>
                  <a:cubicBezTo>
                    <a:pt x="0" y="239158"/>
                    <a:pt x="4214" y="267955"/>
                    <a:pt x="12467" y="293767"/>
                  </a:cubicBezTo>
                  <a:cubicBezTo>
                    <a:pt x="20720" y="319579"/>
                    <a:pt x="32484" y="341528"/>
                    <a:pt x="47410" y="359439"/>
                  </a:cubicBezTo>
                  <a:cubicBezTo>
                    <a:pt x="62335" y="377525"/>
                    <a:pt x="80422" y="391397"/>
                    <a:pt x="101493" y="401054"/>
                  </a:cubicBezTo>
                  <a:cubicBezTo>
                    <a:pt x="122564" y="410712"/>
                    <a:pt x="146093" y="415628"/>
                    <a:pt x="172081" y="415628"/>
                  </a:cubicBezTo>
                  <a:cubicBezTo>
                    <a:pt x="198420" y="415628"/>
                    <a:pt x="221598" y="411414"/>
                    <a:pt x="241791" y="402810"/>
                  </a:cubicBezTo>
                  <a:cubicBezTo>
                    <a:pt x="261809" y="394206"/>
                    <a:pt x="278139" y="383319"/>
                    <a:pt x="290782" y="369974"/>
                  </a:cubicBezTo>
                  <a:lnTo>
                    <a:pt x="290782" y="211063"/>
                  </a:lnTo>
                  <a:lnTo>
                    <a:pt x="167867" y="211063"/>
                  </a:lnTo>
                  <a:lnTo>
                    <a:pt x="167867" y="234943"/>
                  </a:lnTo>
                  <a:close/>
                </a:path>
              </a:pathLst>
            </a:custGeom>
            <a:solidFill>
              <a:srgbClr val="231B37"/>
            </a:solidFill>
            <a:ln w="17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Vrije vorm: vorm 21">
              <a:extLst>
                <a:ext uri="{FF2B5EF4-FFF2-40B4-BE49-F238E27FC236}">
                  <a16:creationId xmlns:a16="http://schemas.microsoft.com/office/drawing/2014/main" id="{68507599-1422-491F-A728-F1820278A8FB}"/>
                </a:ext>
              </a:extLst>
            </p:cNvPr>
            <p:cNvSpPr/>
            <p:nvPr/>
          </p:nvSpPr>
          <p:spPr>
            <a:xfrm>
              <a:off x="7550082" y="3225488"/>
              <a:ext cx="254258" cy="401054"/>
            </a:xfrm>
            <a:custGeom>
              <a:avLst/>
              <a:gdLst>
                <a:gd name="connsiteX0" fmla="*/ 218788 w 254258"/>
                <a:gd name="connsiteY0" fmla="*/ 181387 h 401054"/>
                <a:gd name="connsiteX1" fmla="*/ 246532 w 254258"/>
                <a:gd name="connsiteY1" fmla="*/ 105883 h 401054"/>
                <a:gd name="connsiteX2" fmla="*/ 237050 w 254258"/>
                <a:gd name="connsiteY2" fmla="*/ 57243 h 401054"/>
                <a:gd name="connsiteX3" fmla="*/ 210536 w 254258"/>
                <a:gd name="connsiteY3" fmla="*/ 24407 h 401054"/>
                <a:gd name="connsiteX4" fmla="*/ 169096 w 254258"/>
                <a:gd name="connsiteY4" fmla="*/ 5795 h 401054"/>
                <a:gd name="connsiteX5" fmla="*/ 115013 w 254258"/>
                <a:gd name="connsiteY5" fmla="*/ 0 h 401054"/>
                <a:gd name="connsiteX6" fmla="*/ 0 w 254258"/>
                <a:gd name="connsiteY6" fmla="*/ 0 h 401054"/>
                <a:gd name="connsiteX7" fmla="*/ 0 w 254258"/>
                <a:gd name="connsiteY7" fmla="*/ 401054 h 401054"/>
                <a:gd name="connsiteX8" fmla="*/ 27919 w 254258"/>
                <a:gd name="connsiteY8" fmla="*/ 401054 h 401054"/>
                <a:gd name="connsiteX9" fmla="*/ 27919 w 254258"/>
                <a:gd name="connsiteY9" fmla="*/ 216682 h 401054"/>
                <a:gd name="connsiteX10" fmla="*/ 113082 w 254258"/>
                <a:gd name="connsiteY10" fmla="*/ 216682 h 401054"/>
                <a:gd name="connsiteX11" fmla="*/ 221950 w 254258"/>
                <a:gd name="connsiteY11" fmla="*/ 401054 h 401054"/>
                <a:gd name="connsiteX12" fmla="*/ 254259 w 254258"/>
                <a:gd name="connsiteY12" fmla="*/ 401054 h 401054"/>
                <a:gd name="connsiteX13" fmla="*/ 143459 w 254258"/>
                <a:gd name="connsiteY13" fmla="*/ 214750 h 401054"/>
                <a:gd name="connsiteX14" fmla="*/ 218788 w 254258"/>
                <a:gd name="connsiteY14" fmla="*/ 181387 h 401054"/>
                <a:gd name="connsiteX15" fmla="*/ 107638 w 254258"/>
                <a:gd name="connsiteY15" fmla="*/ 193679 h 401054"/>
                <a:gd name="connsiteX16" fmla="*/ 27919 w 254258"/>
                <a:gd name="connsiteY16" fmla="*/ 193679 h 401054"/>
                <a:gd name="connsiteX17" fmla="*/ 27919 w 254258"/>
                <a:gd name="connsiteY17" fmla="*/ 23881 h 401054"/>
                <a:gd name="connsiteX18" fmla="*/ 107638 w 254258"/>
                <a:gd name="connsiteY18" fmla="*/ 23881 h 401054"/>
                <a:gd name="connsiteX19" fmla="*/ 189113 w 254258"/>
                <a:gd name="connsiteY19" fmla="*/ 42493 h 401054"/>
                <a:gd name="connsiteX20" fmla="*/ 217735 w 254258"/>
                <a:gd name="connsiteY20" fmla="*/ 106058 h 401054"/>
                <a:gd name="connsiteX21" fmla="*/ 189465 w 254258"/>
                <a:gd name="connsiteY21" fmla="*/ 172081 h 401054"/>
                <a:gd name="connsiteX22" fmla="*/ 107638 w 254258"/>
                <a:gd name="connsiteY22" fmla="*/ 193679 h 401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4258" h="401054">
                  <a:moveTo>
                    <a:pt x="218788" y="181387"/>
                  </a:moveTo>
                  <a:cubicBezTo>
                    <a:pt x="237226" y="163126"/>
                    <a:pt x="246532" y="138016"/>
                    <a:pt x="246532" y="105883"/>
                  </a:cubicBezTo>
                  <a:cubicBezTo>
                    <a:pt x="246532" y="86743"/>
                    <a:pt x="243372" y="70588"/>
                    <a:pt x="237050" y="57243"/>
                  </a:cubicBezTo>
                  <a:cubicBezTo>
                    <a:pt x="230729" y="43898"/>
                    <a:pt x="221950" y="32836"/>
                    <a:pt x="210536" y="24407"/>
                  </a:cubicBezTo>
                  <a:cubicBezTo>
                    <a:pt x="199122" y="15803"/>
                    <a:pt x="185426" y="9658"/>
                    <a:pt x="169096" y="5795"/>
                  </a:cubicBezTo>
                  <a:cubicBezTo>
                    <a:pt x="152941" y="1932"/>
                    <a:pt x="134855" y="0"/>
                    <a:pt x="115013" y="0"/>
                  </a:cubicBezTo>
                  <a:lnTo>
                    <a:pt x="0" y="0"/>
                  </a:lnTo>
                  <a:lnTo>
                    <a:pt x="0" y="401054"/>
                  </a:lnTo>
                  <a:lnTo>
                    <a:pt x="27919" y="401054"/>
                  </a:lnTo>
                  <a:lnTo>
                    <a:pt x="27919" y="216682"/>
                  </a:lnTo>
                  <a:lnTo>
                    <a:pt x="113082" y="216682"/>
                  </a:lnTo>
                  <a:lnTo>
                    <a:pt x="221950" y="401054"/>
                  </a:lnTo>
                  <a:lnTo>
                    <a:pt x="254259" y="401054"/>
                  </a:lnTo>
                  <a:lnTo>
                    <a:pt x="143459" y="214750"/>
                  </a:lnTo>
                  <a:cubicBezTo>
                    <a:pt x="175242" y="210887"/>
                    <a:pt x="200351" y="199649"/>
                    <a:pt x="218788" y="181387"/>
                  </a:cubicBezTo>
                  <a:close/>
                  <a:moveTo>
                    <a:pt x="107638" y="193679"/>
                  </a:moveTo>
                  <a:lnTo>
                    <a:pt x="27919" y="193679"/>
                  </a:lnTo>
                  <a:lnTo>
                    <a:pt x="27919" y="23881"/>
                  </a:lnTo>
                  <a:lnTo>
                    <a:pt x="107638" y="23881"/>
                  </a:lnTo>
                  <a:cubicBezTo>
                    <a:pt x="142933" y="23881"/>
                    <a:pt x="170149" y="30026"/>
                    <a:pt x="189113" y="42493"/>
                  </a:cubicBezTo>
                  <a:cubicBezTo>
                    <a:pt x="208253" y="54961"/>
                    <a:pt x="217735" y="76032"/>
                    <a:pt x="217735" y="106058"/>
                  </a:cubicBezTo>
                  <a:cubicBezTo>
                    <a:pt x="217735" y="135733"/>
                    <a:pt x="208253" y="157682"/>
                    <a:pt x="189465" y="172081"/>
                  </a:cubicBezTo>
                  <a:cubicBezTo>
                    <a:pt x="170676" y="186480"/>
                    <a:pt x="143284" y="193679"/>
                    <a:pt x="107638" y="193679"/>
                  </a:cubicBezTo>
                  <a:close/>
                </a:path>
              </a:pathLst>
            </a:custGeom>
            <a:solidFill>
              <a:srgbClr val="231B37"/>
            </a:solidFill>
            <a:ln w="17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Vrije vorm: vorm 22">
              <a:extLst>
                <a:ext uri="{FF2B5EF4-FFF2-40B4-BE49-F238E27FC236}">
                  <a16:creationId xmlns:a16="http://schemas.microsoft.com/office/drawing/2014/main" id="{F5797FF4-D765-4698-9EFE-81C9D8AB76CD}"/>
                </a:ext>
              </a:extLst>
            </p:cNvPr>
            <p:cNvSpPr/>
            <p:nvPr/>
          </p:nvSpPr>
          <p:spPr>
            <a:xfrm>
              <a:off x="7861057" y="3218289"/>
              <a:ext cx="330289" cy="415628"/>
            </a:xfrm>
            <a:custGeom>
              <a:avLst/>
              <a:gdLst>
                <a:gd name="connsiteX0" fmla="*/ 284110 w 330289"/>
                <a:gd name="connsiteY0" fmla="*/ 55663 h 415628"/>
                <a:gd name="connsiteX1" fmla="*/ 231783 w 330289"/>
                <a:gd name="connsiteY1" fmla="*/ 14223 h 415628"/>
                <a:gd name="connsiteX2" fmla="*/ 164882 w 330289"/>
                <a:gd name="connsiteY2" fmla="*/ 0 h 415628"/>
                <a:gd name="connsiteX3" fmla="*/ 98508 w 330289"/>
                <a:gd name="connsiteY3" fmla="*/ 14223 h 415628"/>
                <a:gd name="connsiteX4" fmla="*/ 46181 w 330289"/>
                <a:gd name="connsiteY4" fmla="*/ 55663 h 415628"/>
                <a:gd name="connsiteX5" fmla="*/ 12116 w 330289"/>
                <a:gd name="connsiteY5" fmla="*/ 120808 h 415628"/>
                <a:gd name="connsiteX6" fmla="*/ 0 w 330289"/>
                <a:gd name="connsiteY6" fmla="*/ 206322 h 415628"/>
                <a:gd name="connsiteX7" fmla="*/ 12116 w 330289"/>
                <a:gd name="connsiteY7" fmla="*/ 292362 h 415628"/>
                <a:gd name="connsiteX8" fmla="*/ 46181 w 330289"/>
                <a:gd name="connsiteY8" fmla="*/ 358385 h 415628"/>
                <a:gd name="connsiteX9" fmla="*/ 98508 w 330289"/>
                <a:gd name="connsiteY9" fmla="*/ 400703 h 415628"/>
                <a:gd name="connsiteX10" fmla="*/ 164882 w 330289"/>
                <a:gd name="connsiteY10" fmla="*/ 415628 h 415628"/>
                <a:gd name="connsiteX11" fmla="*/ 231783 w 330289"/>
                <a:gd name="connsiteY11" fmla="*/ 400703 h 415628"/>
                <a:gd name="connsiteX12" fmla="*/ 284110 w 330289"/>
                <a:gd name="connsiteY12" fmla="*/ 358385 h 415628"/>
                <a:gd name="connsiteX13" fmla="*/ 318175 w 330289"/>
                <a:gd name="connsiteY13" fmla="*/ 292362 h 415628"/>
                <a:gd name="connsiteX14" fmla="*/ 330290 w 330289"/>
                <a:gd name="connsiteY14" fmla="*/ 206322 h 415628"/>
                <a:gd name="connsiteX15" fmla="*/ 318175 w 330289"/>
                <a:gd name="connsiteY15" fmla="*/ 120808 h 415628"/>
                <a:gd name="connsiteX16" fmla="*/ 284110 w 330289"/>
                <a:gd name="connsiteY16" fmla="*/ 55663 h 415628"/>
                <a:gd name="connsiteX17" fmla="*/ 290782 w 330289"/>
                <a:gd name="connsiteY17" fmla="*/ 282002 h 415628"/>
                <a:gd name="connsiteX18" fmla="*/ 263038 w 330289"/>
                <a:gd name="connsiteY18" fmla="*/ 339772 h 415628"/>
                <a:gd name="connsiteX19" fmla="*/ 220193 w 330289"/>
                <a:gd name="connsiteY19" fmla="*/ 376822 h 415628"/>
                <a:gd name="connsiteX20" fmla="*/ 164882 w 330289"/>
                <a:gd name="connsiteY20" fmla="*/ 389992 h 415628"/>
                <a:gd name="connsiteX21" fmla="*/ 109219 w 330289"/>
                <a:gd name="connsiteY21" fmla="*/ 376822 h 415628"/>
                <a:gd name="connsiteX22" fmla="*/ 66374 w 330289"/>
                <a:gd name="connsiteY22" fmla="*/ 339772 h 415628"/>
                <a:gd name="connsiteX23" fmla="*/ 38982 w 330289"/>
                <a:gd name="connsiteY23" fmla="*/ 282002 h 415628"/>
                <a:gd name="connsiteX24" fmla="*/ 29324 w 330289"/>
                <a:gd name="connsiteY24" fmla="*/ 206322 h 415628"/>
                <a:gd name="connsiteX25" fmla="*/ 38982 w 330289"/>
                <a:gd name="connsiteY25" fmla="*/ 131519 h 415628"/>
                <a:gd name="connsiteX26" fmla="*/ 66374 w 330289"/>
                <a:gd name="connsiteY26" fmla="*/ 74627 h 415628"/>
                <a:gd name="connsiteX27" fmla="*/ 109219 w 330289"/>
                <a:gd name="connsiteY27" fmla="*/ 38455 h 415628"/>
                <a:gd name="connsiteX28" fmla="*/ 164882 w 330289"/>
                <a:gd name="connsiteY28" fmla="*/ 25637 h 415628"/>
                <a:gd name="connsiteX29" fmla="*/ 220193 w 330289"/>
                <a:gd name="connsiteY29" fmla="*/ 38455 h 415628"/>
                <a:gd name="connsiteX30" fmla="*/ 263038 w 330289"/>
                <a:gd name="connsiteY30" fmla="*/ 74627 h 415628"/>
                <a:gd name="connsiteX31" fmla="*/ 290782 w 330289"/>
                <a:gd name="connsiteY31" fmla="*/ 131519 h 415628"/>
                <a:gd name="connsiteX32" fmla="*/ 300439 w 330289"/>
                <a:gd name="connsiteY32" fmla="*/ 206322 h 415628"/>
                <a:gd name="connsiteX33" fmla="*/ 290782 w 330289"/>
                <a:gd name="connsiteY33" fmla="*/ 282002 h 415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30289" h="415628">
                  <a:moveTo>
                    <a:pt x="284110" y="55663"/>
                  </a:moveTo>
                  <a:cubicBezTo>
                    <a:pt x="269535" y="37577"/>
                    <a:pt x="251976" y="23881"/>
                    <a:pt x="231783" y="14223"/>
                  </a:cubicBezTo>
                  <a:cubicBezTo>
                    <a:pt x="211590" y="4741"/>
                    <a:pt x="189289" y="0"/>
                    <a:pt x="164882" y="0"/>
                  </a:cubicBezTo>
                  <a:cubicBezTo>
                    <a:pt x="141001" y="0"/>
                    <a:pt x="118877" y="4741"/>
                    <a:pt x="98508" y="14223"/>
                  </a:cubicBezTo>
                  <a:cubicBezTo>
                    <a:pt x="78139" y="23705"/>
                    <a:pt x="60755" y="37577"/>
                    <a:pt x="46181" y="55663"/>
                  </a:cubicBezTo>
                  <a:cubicBezTo>
                    <a:pt x="31607" y="73749"/>
                    <a:pt x="20194" y="95523"/>
                    <a:pt x="12116" y="120808"/>
                  </a:cubicBezTo>
                  <a:cubicBezTo>
                    <a:pt x="4039" y="146093"/>
                    <a:pt x="0" y="174715"/>
                    <a:pt x="0" y="206322"/>
                  </a:cubicBezTo>
                  <a:cubicBezTo>
                    <a:pt x="0" y="237928"/>
                    <a:pt x="4039" y="266726"/>
                    <a:pt x="12116" y="292362"/>
                  </a:cubicBezTo>
                  <a:cubicBezTo>
                    <a:pt x="20194" y="318174"/>
                    <a:pt x="31607" y="340124"/>
                    <a:pt x="46181" y="358385"/>
                  </a:cubicBezTo>
                  <a:cubicBezTo>
                    <a:pt x="60755" y="376647"/>
                    <a:pt x="78315" y="390694"/>
                    <a:pt x="98508" y="400703"/>
                  </a:cubicBezTo>
                  <a:cubicBezTo>
                    <a:pt x="118701" y="410712"/>
                    <a:pt x="141001" y="415628"/>
                    <a:pt x="164882" y="415628"/>
                  </a:cubicBezTo>
                  <a:cubicBezTo>
                    <a:pt x="189289" y="415628"/>
                    <a:pt x="211590" y="410712"/>
                    <a:pt x="231783" y="400703"/>
                  </a:cubicBezTo>
                  <a:cubicBezTo>
                    <a:pt x="252151" y="390694"/>
                    <a:pt x="269535" y="376647"/>
                    <a:pt x="284110" y="358385"/>
                  </a:cubicBezTo>
                  <a:cubicBezTo>
                    <a:pt x="298683" y="340124"/>
                    <a:pt x="310097" y="318174"/>
                    <a:pt x="318175" y="292362"/>
                  </a:cubicBezTo>
                  <a:cubicBezTo>
                    <a:pt x="326252" y="266550"/>
                    <a:pt x="330290" y="237928"/>
                    <a:pt x="330290" y="206322"/>
                  </a:cubicBezTo>
                  <a:cubicBezTo>
                    <a:pt x="330290" y="174715"/>
                    <a:pt x="326252" y="146093"/>
                    <a:pt x="318175" y="120808"/>
                  </a:cubicBezTo>
                  <a:cubicBezTo>
                    <a:pt x="310097" y="95523"/>
                    <a:pt x="298859" y="73749"/>
                    <a:pt x="284110" y="55663"/>
                  </a:cubicBezTo>
                  <a:close/>
                  <a:moveTo>
                    <a:pt x="290782" y="282002"/>
                  </a:moveTo>
                  <a:cubicBezTo>
                    <a:pt x="284285" y="304478"/>
                    <a:pt x="274978" y="323793"/>
                    <a:pt x="263038" y="339772"/>
                  </a:cubicBezTo>
                  <a:cubicBezTo>
                    <a:pt x="251098" y="355751"/>
                    <a:pt x="236699" y="368218"/>
                    <a:pt x="220193" y="376822"/>
                  </a:cubicBezTo>
                  <a:cubicBezTo>
                    <a:pt x="203512" y="385602"/>
                    <a:pt x="185075" y="389992"/>
                    <a:pt x="164882" y="389992"/>
                  </a:cubicBezTo>
                  <a:cubicBezTo>
                    <a:pt x="144689" y="389992"/>
                    <a:pt x="126076" y="385602"/>
                    <a:pt x="109219" y="376822"/>
                  </a:cubicBezTo>
                  <a:cubicBezTo>
                    <a:pt x="92362" y="368043"/>
                    <a:pt x="78139" y="355751"/>
                    <a:pt x="66374" y="339772"/>
                  </a:cubicBezTo>
                  <a:cubicBezTo>
                    <a:pt x="54610" y="323793"/>
                    <a:pt x="45478" y="304478"/>
                    <a:pt x="38982" y="282002"/>
                  </a:cubicBezTo>
                  <a:cubicBezTo>
                    <a:pt x="32485" y="259526"/>
                    <a:pt x="29324" y="234241"/>
                    <a:pt x="29324" y="206322"/>
                  </a:cubicBezTo>
                  <a:cubicBezTo>
                    <a:pt x="29324" y="178754"/>
                    <a:pt x="32485" y="153819"/>
                    <a:pt x="38982" y="131519"/>
                  </a:cubicBezTo>
                  <a:cubicBezTo>
                    <a:pt x="45478" y="109219"/>
                    <a:pt x="54610" y="90255"/>
                    <a:pt x="66374" y="74627"/>
                  </a:cubicBezTo>
                  <a:cubicBezTo>
                    <a:pt x="78139" y="58999"/>
                    <a:pt x="92362" y="46883"/>
                    <a:pt x="109219" y="38455"/>
                  </a:cubicBezTo>
                  <a:cubicBezTo>
                    <a:pt x="126076" y="29851"/>
                    <a:pt x="144689" y="25637"/>
                    <a:pt x="164882" y="25637"/>
                  </a:cubicBezTo>
                  <a:cubicBezTo>
                    <a:pt x="185075" y="25637"/>
                    <a:pt x="203688" y="29851"/>
                    <a:pt x="220193" y="38455"/>
                  </a:cubicBezTo>
                  <a:cubicBezTo>
                    <a:pt x="236875" y="46883"/>
                    <a:pt x="251098" y="58999"/>
                    <a:pt x="263038" y="74627"/>
                  </a:cubicBezTo>
                  <a:cubicBezTo>
                    <a:pt x="274978" y="90255"/>
                    <a:pt x="284285" y="109219"/>
                    <a:pt x="290782" y="131519"/>
                  </a:cubicBezTo>
                  <a:cubicBezTo>
                    <a:pt x="297279" y="153819"/>
                    <a:pt x="300439" y="178754"/>
                    <a:pt x="300439" y="206322"/>
                  </a:cubicBezTo>
                  <a:cubicBezTo>
                    <a:pt x="300615" y="234241"/>
                    <a:pt x="297279" y="259526"/>
                    <a:pt x="290782" y="282002"/>
                  </a:cubicBezTo>
                  <a:close/>
                </a:path>
              </a:pathLst>
            </a:custGeom>
            <a:solidFill>
              <a:srgbClr val="231B37"/>
            </a:solidFill>
            <a:ln w="17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Vrije vorm: vorm 23">
              <a:extLst>
                <a:ext uri="{FF2B5EF4-FFF2-40B4-BE49-F238E27FC236}">
                  <a16:creationId xmlns:a16="http://schemas.microsoft.com/office/drawing/2014/main" id="{38A140A9-3933-4F11-9D4C-3F3C5F322A38}"/>
                </a:ext>
              </a:extLst>
            </p:cNvPr>
            <p:cNvSpPr/>
            <p:nvPr/>
          </p:nvSpPr>
          <p:spPr>
            <a:xfrm>
              <a:off x="8288625" y="3225663"/>
              <a:ext cx="270237" cy="408253"/>
            </a:xfrm>
            <a:custGeom>
              <a:avLst/>
              <a:gdLst>
                <a:gd name="connsiteX0" fmla="*/ 243723 w 270237"/>
                <a:gd name="connsiteY0" fmla="*/ 243899 h 408253"/>
                <a:gd name="connsiteX1" fmla="*/ 234592 w 270237"/>
                <a:gd name="connsiteY1" fmla="*/ 310448 h 408253"/>
                <a:gd name="connsiteX2" fmla="*/ 210536 w 270237"/>
                <a:gd name="connsiteY2" fmla="*/ 353117 h 408253"/>
                <a:gd name="connsiteX3" fmla="*/ 175769 w 270237"/>
                <a:gd name="connsiteY3" fmla="*/ 375944 h 408253"/>
                <a:gd name="connsiteX4" fmla="*/ 134153 w 270237"/>
                <a:gd name="connsiteY4" fmla="*/ 382617 h 408253"/>
                <a:gd name="connsiteX5" fmla="*/ 93766 w 270237"/>
                <a:gd name="connsiteY5" fmla="*/ 375944 h 408253"/>
                <a:gd name="connsiteX6" fmla="*/ 60053 w 270237"/>
                <a:gd name="connsiteY6" fmla="*/ 353117 h 408253"/>
                <a:gd name="connsiteX7" fmla="*/ 36699 w 270237"/>
                <a:gd name="connsiteY7" fmla="*/ 310448 h 408253"/>
                <a:gd name="connsiteX8" fmla="*/ 27919 w 270237"/>
                <a:gd name="connsiteY8" fmla="*/ 243899 h 408253"/>
                <a:gd name="connsiteX9" fmla="*/ 27919 w 270237"/>
                <a:gd name="connsiteY9" fmla="*/ 0 h 408253"/>
                <a:gd name="connsiteX10" fmla="*/ 0 w 270237"/>
                <a:gd name="connsiteY10" fmla="*/ 0 h 408253"/>
                <a:gd name="connsiteX11" fmla="*/ 0 w 270237"/>
                <a:gd name="connsiteY11" fmla="*/ 247059 h 408253"/>
                <a:gd name="connsiteX12" fmla="*/ 11238 w 270237"/>
                <a:gd name="connsiteY12" fmla="*/ 325023 h 408253"/>
                <a:gd name="connsiteX13" fmla="*/ 41440 w 270237"/>
                <a:gd name="connsiteY13" fmla="*/ 374540 h 408253"/>
                <a:gd name="connsiteX14" fmla="*/ 84636 w 270237"/>
                <a:gd name="connsiteY14" fmla="*/ 400703 h 408253"/>
                <a:gd name="connsiteX15" fmla="*/ 134504 w 270237"/>
                <a:gd name="connsiteY15" fmla="*/ 408254 h 408253"/>
                <a:gd name="connsiteX16" fmla="*/ 185075 w 270237"/>
                <a:gd name="connsiteY16" fmla="*/ 400703 h 408253"/>
                <a:gd name="connsiteX17" fmla="*/ 228271 w 270237"/>
                <a:gd name="connsiteY17" fmla="*/ 374540 h 408253"/>
                <a:gd name="connsiteX18" fmla="*/ 258648 w 270237"/>
                <a:gd name="connsiteY18" fmla="*/ 325023 h 408253"/>
                <a:gd name="connsiteX19" fmla="*/ 270238 w 270237"/>
                <a:gd name="connsiteY19" fmla="*/ 247059 h 408253"/>
                <a:gd name="connsiteX20" fmla="*/ 270238 w 270237"/>
                <a:gd name="connsiteY20" fmla="*/ 0 h 408253"/>
                <a:gd name="connsiteX21" fmla="*/ 244074 w 270237"/>
                <a:gd name="connsiteY21" fmla="*/ 0 h 408253"/>
                <a:gd name="connsiteX22" fmla="*/ 244074 w 270237"/>
                <a:gd name="connsiteY22" fmla="*/ 243899 h 408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70237" h="408253">
                  <a:moveTo>
                    <a:pt x="243723" y="243899"/>
                  </a:moveTo>
                  <a:cubicBezTo>
                    <a:pt x="243723" y="270589"/>
                    <a:pt x="240738" y="292889"/>
                    <a:pt x="234592" y="310448"/>
                  </a:cubicBezTo>
                  <a:cubicBezTo>
                    <a:pt x="228446" y="328183"/>
                    <a:pt x="220544" y="342231"/>
                    <a:pt x="210536" y="353117"/>
                  </a:cubicBezTo>
                  <a:cubicBezTo>
                    <a:pt x="200527" y="363829"/>
                    <a:pt x="189114" y="371555"/>
                    <a:pt x="175769" y="375944"/>
                  </a:cubicBezTo>
                  <a:cubicBezTo>
                    <a:pt x="162599" y="380334"/>
                    <a:pt x="148727" y="382617"/>
                    <a:pt x="134153" y="382617"/>
                  </a:cubicBezTo>
                  <a:cubicBezTo>
                    <a:pt x="119930" y="382617"/>
                    <a:pt x="106409" y="380334"/>
                    <a:pt x="93766" y="375944"/>
                  </a:cubicBezTo>
                  <a:cubicBezTo>
                    <a:pt x="80949" y="371555"/>
                    <a:pt x="69710" y="363829"/>
                    <a:pt x="60053" y="353117"/>
                  </a:cubicBezTo>
                  <a:cubicBezTo>
                    <a:pt x="50395" y="342406"/>
                    <a:pt x="42494" y="328183"/>
                    <a:pt x="36699" y="310448"/>
                  </a:cubicBezTo>
                  <a:cubicBezTo>
                    <a:pt x="30904" y="292889"/>
                    <a:pt x="27919" y="270589"/>
                    <a:pt x="27919" y="243899"/>
                  </a:cubicBezTo>
                  <a:lnTo>
                    <a:pt x="27919" y="0"/>
                  </a:lnTo>
                  <a:lnTo>
                    <a:pt x="0" y="0"/>
                  </a:lnTo>
                  <a:lnTo>
                    <a:pt x="0" y="247059"/>
                  </a:lnTo>
                  <a:cubicBezTo>
                    <a:pt x="0" y="278315"/>
                    <a:pt x="3687" y="304303"/>
                    <a:pt x="11238" y="325023"/>
                  </a:cubicBezTo>
                  <a:cubicBezTo>
                    <a:pt x="18789" y="345742"/>
                    <a:pt x="28797" y="362248"/>
                    <a:pt x="41440" y="374540"/>
                  </a:cubicBezTo>
                  <a:cubicBezTo>
                    <a:pt x="54083" y="387007"/>
                    <a:pt x="68481" y="395611"/>
                    <a:pt x="84636" y="400703"/>
                  </a:cubicBezTo>
                  <a:cubicBezTo>
                    <a:pt x="100790" y="405795"/>
                    <a:pt x="117472" y="408254"/>
                    <a:pt x="134504" y="408254"/>
                  </a:cubicBezTo>
                  <a:cubicBezTo>
                    <a:pt x="151888" y="408254"/>
                    <a:pt x="168745" y="405795"/>
                    <a:pt x="185075" y="400703"/>
                  </a:cubicBezTo>
                  <a:cubicBezTo>
                    <a:pt x="201229" y="395611"/>
                    <a:pt x="215628" y="386831"/>
                    <a:pt x="228271" y="374540"/>
                  </a:cubicBezTo>
                  <a:cubicBezTo>
                    <a:pt x="240913" y="362248"/>
                    <a:pt x="250922" y="345567"/>
                    <a:pt x="258648" y="325023"/>
                  </a:cubicBezTo>
                  <a:cubicBezTo>
                    <a:pt x="266374" y="304303"/>
                    <a:pt x="270238" y="278315"/>
                    <a:pt x="270238" y="247059"/>
                  </a:cubicBezTo>
                  <a:lnTo>
                    <a:pt x="270238" y="0"/>
                  </a:lnTo>
                  <a:lnTo>
                    <a:pt x="244074" y="0"/>
                  </a:lnTo>
                  <a:lnTo>
                    <a:pt x="244074" y="243899"/>
                  </a:lnTo>
                  <a:close/>
                </a:path>
              </a:pathLst>
            </a:custGeom>
            <a:solidFill>
              <a:srgbClr val="231B37"/>
            </a:solidFill>
            <a:ln w="17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Vrije vorm: vorm 24">
              <a:extLst>
                <a:ext uri="{FF2B5EF4-FFF2-40B4-BE49-F238E27FC236}">
                  <a16:creationId xmlns:a16="http://schemas.microsoft.com/office/drawing/2014/main" id="{A9E3C6E1-6CB4-4D10-A9EF-6808FE599E3E}"/>
                </a:ext>
              </a:extLst>
            </p:cNvPr>
            <p:cNvSpPr/>
            <p:nvPr/>
          </p:nvSpPr>
          <p:spPr>
            <a:xfrm>
              <a:off x="8681426" y="3225488"/>
              <a:ext cx="246532" cy="401054"/>
            </a:xfrm>
            <a:custGeom>
              <a:avLst/>
              <a:gdLst>
                <a:gd name="connsiteX0" fmla="*/ 236348 w 246532"/>
                <a:gd name="connsiteY0" fmla="*/ 59702 h 401054"/>
                <a:gd name="connsiteX1" fmla="*/ 207727 w 246532"/>
                <a:gd name="connsiteY1" fmla="*/ 24934 h 401054"/>
                <a:gd name="connsiteX2" fmla="*/ 162072 w 246532"/>
                <a:gd name="connsiteY2" fmla="*/ 5795 h 401054"/>
                <a:gd name="connsiteX3" fmla="*/ 100966 w 246532"/>
                <a:gd name="connsiteY3" fmla="*/ 0 h 401054"/>
                <a:gd name="connsiteX4" fmla="*/ 0 w 246532"/>
                <a:gd name="connsiteY4" fmla="*/ 0 h 401054"/>
                <a:gd name="connsiteX5" fmla="*/ 0 w 246532"/>
                <a:gd name="connsiteY5" fmla="*/ 401054 h 401054"/>
                <a:gd name="connsiteX6" fmla="*/ 27919 w 246532"/>
                <a:gd name="connsiteY6" fmla="*/ 401054 h 401054"/>
                <a:gd name="connsiteX7" fmla="*/ 27919 w 246532"/>
                <a:gd name="connsiteY7" fmla="*/ 228798 h 401054"/>
                <a:gd name="connsiteX8" fmla="*/ 103424 w 246532"/>
                <a:gd name="connsiteY8" fmla="*/ 228798 h 401054"/>
                <a:gd name="connsiteX9" fmla="*/ 208780 w 246532"/>
                <a:gd name="connsiteY9" fmla="*/ 199825 h 401054"/>
                <a:gd name="connsiteX10" fmla="*/ 246532 w 246532"/>
                <a:gd name="connsiteY10" fmla="*/ 111853 h 401054"/>
                <a:gd name="connsiteX11" fmla="*/ 236348 w 246532"/>
                <a:gd name="connsiteY11" fmla="*/ 59702 h 401054"/>
                <a:gd name="connsiteX12" fmla="*/ 188060 w 246532"/>
                <a:gd name="connsiteY12" fmla="*/ 183319 h 401054"/>
                <a:gd name="connsiteX13" fmla="*/ 96752 w 246532"/>
                <a:gd name="connsiteY13" fmla="*/ 205268 h 401054"/>
                <a:gd name="connsiteX14" fmla="*/ 27919 w 246532"/>
                <a:gd name="connsiteY14" fmla="*/ 205268 h 401054"/>
                <a:gd name="connsiteX15" fmla="*/ 27919 w 246532"/>
                <a:gd name="connsiteY15" fmla="*/ 23881 h 401054"/>
                <a:gd name="connsiteX16" fmla="*/ 94293 w 246532"/>
                <a:gd name="connsiteY16" fmla="*/ 23881 h 401054"/>
                <a:gd name="connsiteX17" fmla="*/ 187182 w 246532"/>
                <a:gd name="connsiteY17" fmla="*/ 42669 h 401054"/>
                <a:gd name="connsiteX18" fmla="*/ 217911 w 246532"/>
                <a:gd name="connsiteY18" fmla="*/ 112028 h 401054"/>
                <a:gd name="connsiteX19" fmla="*/ 188060 w 246532"/>
                <a:gd name="connsiteY19" fmla="*/ 183319 h 401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46532" h="401054">
                  <a:moveTo>
                    <a:pt x="236348" y="59702"/>
                  </a:moveTo>
                  <a:cubicBezTo>
                    <a:pt x="229676" y="45479"/>
                    <a:pt x="220193" y="33889"/>
                    <a:pt x="207727" y="24934"/>
                  </a:cubicBezTo>
                  <a:cubicBezTo>
                    <a:pt x="195259" y="15979"/>
                    <a:pt x="180158" y="9658"/>
                    <a:pt x="162072" y="5795"/>
                  </a:cubicBezTo>
                  <a:cubicBezTo>
                    <a:pt x="143986" y="1932"/>
                    <a:pt x="123617" y="0"/>
                    <a:pt x="100966" y="0"/>
                  </a:cubicBezTo>
                  <a:lnTo>
                    <a:pt x="0" y="0"/>
                  </a:lnTo>
                  <a:lnTo>
                    <a:pt x="0" y="401054"/>
                  </a:lnTo>
                  <a:lnTo>
                    <a:pt x="27919" y="401054"/>
                  </a:lnTo>
                  <a:lnTo>
                    <a:pt x="27919" y="228798"/>
                  </a:lnTo>
                  <a:lnTo>
                    <a:pt x="103424" y="228798"/>
                  </a:lnTo>
                  <a:cubicBezTo>
                    <a:pt x="148376" y="228798"/>
                    <a:pt x="183495" y="219140"/>
                    <a:pt x="208780" y="199825"/>
                  </a:cubicBezTo>
                  <a:cubicBezTo>
                    <a:pt x="233890" y="180510"/>
                    <a:pt x="246532" y="151186"/>
                    <a:pt x="246532" y="111853"/>
                  </a:cubicBezTo>
                  <a:cubicBezTo>
                    <a:pt x="246357" y="91308"/>
                    <a:pt x="243020" y="73925"/>
                    <a:pt x="236348" y="59702"/>
                  </a:cubicBezTo>
                  <a:close/>
                  <a:moveTo>
                    <a:pt x="188060" y="183319"/>
                  </a:moveTo>
                  <a:cubicBezTo>
                    <a:pt x="168218" y="197893"/>
                    <a:pt x="137665" y="205268"/>
                    <a:pt x="96752" y="205268"/>
                  </a:cubicBezTo>
                  <a:lnTo>
                    <a:pt x="27919" y="205268"/>
                  </a:lnTo>
                  <a:lnTo>
                    <a:pt x="27919" y="23881"/>
                  </a:lnTo>
                  <a:lnTo>
                    <a:pt x="94293" y="23881"/>
                  </a:lnTo>
                  <a:cubicBezTo>
                    <a:pt x="135733" y="23881"/>
                    <a:pt x="166638" y="30202"/>
                    <a:pt x="187182" y="42669"/>
                  </a:cubicBezTo>
                  <a:cubicBezTo>
                    <a:pt x="207727" y="55312"/>
                    <a:pt x="217911" y="78314"/>
                    <a:pt x="217911" y="112028"/>
                  </a:cubicBezTo>
                  <a:cubicBezTo>
                    <a:pt x="217735" y="144864"/>
                    <a:pt x="207902" y="168745"/>
                    <a:pt x="188060" y="183319"/>
                  </a:cubicBezTo>
                  <a:close/>
                </a:path>
              </a:pathLst>
            </a:custGeom>
            <a:solidFill>
              <a:srgbClr val="231B37"/>
            </a:solidFill>
            <a:ln w="17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Rechthoek 1">
            <a:extLst>
              <a:ext uri="{FF2B5EF4-FFF2-40B4-BE49-F238E27FC236}">
                <a16:creationId xmlns:a16="http://schemas.microsoft.com/office/drawing/2014/main" id="{9F7C2639-5776-4A7B-8340-36DCF74CE92F}"/>
              </a:ext>
            </a:extLst>
          </p:cNvPr>
          <p:cNvSpPr/>
          <p:nvPr userDrawn="1"/>
        </p:nvSpPr>
        <p:spPr>
          <a:xfrm>
            <a:off x="609600" y="6172200"/>
            <a:ext cx="1549400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1113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hort + fixed imag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F7EE4ED-E785-41CA-B346-7D8142906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300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F7EE4ED-E785-41CA-B346-7D8142906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490E1A95-424B-4033-A7F4-26F52581D91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>
              <a:latin typeface="Source Sans Pro" panose="020B0503030403020204" pitchFamily="34" charset="0"/>
              <a:ea typeface="+mj-ea"/>
              <a:cs typeface="+mj-cs"/>
              <a:sym typeface="Source Sans Pro" panose="020B0503030403020204" pitchFamily="34" charset="0"/>
            </a:endParaRPr>
          </a:p>
        </p:txBody>
      </p:sp>
      <p:sp>
        <p:nvSpPr>
          <p:cNvPr id="7" name="Tekstvak 6"/>
          <p:cNvSpPr txBox="1"/>
          <p:nvPr userDrawn="1"/>
        </p:nvSpPr>
        <p:spPr>
          <a:xfrm>
            <a:off x="-10750" y="-662296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914400" rtl="0" eaLnBrk="1" latinLnBrk="0" hangingPunct="1"/>
            <a:r>
              <a:rPr lang="en-US" sz="2400" b="0" kern="1200" spc="50" baseline="0">
                <a:solidFill>
                  <a:schemeClr val="accent2"/>
                </a:solidFill>
                <a:latin typeface="+mj-lt"/>
                <a:ea typeface="+mn-ea"/>
                <a:cs typeface="Calibri" panose="020F0502020204030204" pitchFamily="34" charset="0"/>
              </a:rPr>
              <a:t>Title short + fixed image #1</a:t>
            </a:r>
          </a:p>
        </p:txBody>
      </p:sp>
      <p:sp>
        <p:nvSpPr>
          <p:cNvPr id="14" name="Tijdelijke aanduiding voor tekst 13">
            <a:extLst>
              <a:ext uri="{FF2B5EF4-FFF2-40B4-BE49-F238E27FC236}">
                <a16:creationId xmlns:a16="http://schemas.microsoft.com/office/drawing/2014/main" id="{6D266F51-F81C-4F01-A9E7-4456E7E62A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11113" y="0"/>
            <a:ext cx="7289418" cy="4245610"/>
          </a:xfrm>
          <a:custGeom>
            <a:avLst/>
            <a:gdLst>
              <a:gd name="connsiteX0" fmla="*/ 6628976 w 7289418"/>
              <a:gd name="connsiteY0" fmla="*/ 0 h 4245610"/>
              <a:gd name="connsiteX1" fmla="*/ 6671319 w 7289418"/>
              <a:gd name="connsiteY1" fmla="*/ 94434 h 4245610"/>
              <a:gd name="connsiteX2" fmla="*/ 7217192 w 7289418"/>
              <a:gd name="connsiteY2" fmla="*/ 1774999 h 4245610"/>
              <a:gd name="connsiteX3" fmla="*/ 7283719 w 7289418"/>
              <a:gd name="connsiteY3" fmla="*/ 2071554 h 4245610"/>
              <a:gd name="connsiteX4" fmla="*/ 7112202 w 7289418"/>
              <a:gd name="connsiteY4" fmla="*/ 2348562 h 4245610"/>
              <a:gd name="connsiteX5" fmla="*/ 6821223 w 7289418"/>
              <a:gd name="connsiteY5" fmla="*/ 2420035 h 4245610"/>
              <a:gd name="connsiteX6" fmla="*/ 0 w 7289418"/>
              <a:gd name="connsiteY6" fmla="*/ 4245610 h 4245610"/>
              <a:gd name="connsiteX7" fmla="*/ 0 w 7289418"/>
              <a:gd name="connsiteY7" fmla="*/ 1 h 4245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89418" h="4245610">
                <a:moveTo>
                  <a:pt x="6628976" y="0"/>
                </a:moveTo>
                <a:lnTo>
                  <a:pt x="6671319" y="94434"/>
                </a:lnTo>
                <a:cubicBezTo>
                  <a:pt x="6909449" y="651413"/>
                  <a:pt x="7091196" y="1212036"/>
                  <a:pt x="7217192" y="1774999"/>
                </a:cubicBezTo>
                <a:lnTo>
                  <a:pt x="7283719" y="2071554"/>
                </a:lnTo>
                <a:cubicBezTo>
                  <a:pt x="7311471" y="2195253"/>
                  <a:pt x="7235248" y="2318324"/>
                  <a:pt x="7112202" y="2348562"/>
                </a:cubicBezTo>
                <a:lnTo>
                  <a:pt x="6821223" y="2420035"/>
                </a:lnTo>
                <a:lnTo>
                  <a:pt x="0" y="4245610"/>
                </a:lnTo>
                <a:lnTo>
                  <a:pt x="0" y="1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5" name="Titel 5">
            <a:extLst>
              <a:ext uri="{FF2B5EF4-FFF2-40B4-BE49-F238E27FC236}">
                <a16:creationId xmlns:a16="http://schemas.microsoft.com/office/drawing/2014/main" id="{20DBEB7A-7FB1-4F46-90EC-A1F387B9FD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9516" y="1298686"/>
            <a:ext cx="5800773" cy="490400"/>
          </a:xfrm>
        </p:spPr>
        <p:txBody>
          <a:bodyPr/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Template for a short title</a:t>
            </a:r>
            <a:endParaRPr lang="en-US"/>
          </a:p>
        </p:txBody>
      </p:sp>
      <p:sp>
        <p:nvSpPr>
          <p:cNvPr id="16" name="Tijdelijke aanduiding voor verticale tekst 2">
            <a:extLst>
              <a:ext uri="{FF2B5EF4-FFF2-40B4-BE49-F238E27FC236}">
                <a16:creationId xmlns:a16="http://schemas.microsoft.com/office/drawing/2014/main" id="{3DDC4B29-4832-4EE5-881D-B67E81FACF2C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899788" y="2013656"/>
            <a:ext cx="5800772" cy="267480"/>
          </a:xfrm>
        </p:spPr>
        <p:txBody>
          <a:bodyPr vert="horz" lIns="0" tIns="0" rIns="0" bIns="0"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  <a:lvl2pPr marL="217488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 algn="l"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Name | function</a:t>
            </a:r>
          </a:p>
        </p:txBody>
      </p:sp>
      <p:sp>
        <p:nvSpPr>
          <p:cNvPr id="17" name="Tijdelijke aanduiding voor verticale tekst 2">
            <a:extLst>
              <a:ext uri="{FF2B5EF4-FFF2-40B4-BE49-F238E27FC236}">
                <a16:creationId xmlns:a16="http://schemas.microsoft.com/office/drawing/2014/main" id="{9320452F-9DCE-487E-B782-800F05C0A7BA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899788" y="2440274"/>
            <a:ext cx="1694000" cy="183397"/>
          </a:xfrm>
        </p:spPr>
        <p:txBody>
          <a:bodyPr vert="horz" lIns="0" tIns="0" rIns="0" bIns="0" anchor="ctr"/>
          <a:lstStyle>
            <a:lvl1pPr marL="0" indent="0">
              <a:buNone/>
              <a:defRPr sz="1100">
                <a:solidFill>
                  <a:schemeClr val="accent2"/>
                </a:solidFill>
              </a:defRPr>
            </a:lvl1pPr>
            <a:lvl2pPr marL="217488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Location</a:t>
            </a:r>
          </a:p>
        </p:txBody>
      </p:sp>
      <p:sp>
        <p:nvSpPr>
          <p:cNvPr id="18" name="Tijdelijke aanduiding voor verticale tekst 2">
            <a:extLst>
              <a:ext uri="{FF2B5EF4-FFF2-40B4-BE49-F238E27FC236}">
                <a16:creationId xmlns:a16="http://schemas.microsoft.com/office/drawing/2014/main" id="{1AE3309E-D390-4597-A595-36BBA6076D7C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899788" y="2634868"/>
            <a:ext cx="1694000" cy="183397"/>
          </a:xfrm>
        </p:spPr>
        <p:txBody>
          <a:bodyPr vert="horz" lIns="0" tIns="0" rIns="0" bIns="0" anchor="ctr"/>
          <a:lstStyle>
            <a:lvl1pPr marL="0" indent="0">
              <a:buNone/>
              <a:defRPr sz="1100">
                <a:solidFill>
                  <a:schemeClr val="accent2"/>
                </a:solidFill>
              </a:defRPr>
            </a:lvl1pPr>
            <a:lvl2pPr marL="217488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Date</a:t>
            </a:r>
          </a:p>
        </p:txBody>
      </p:sp>
      <p:sp>
        <p:nvSpPr>
          <p:cNvPr id="20" name="Tijdelijke aanduiding voor tekst 19">
            <a:extLst>
              <a:ext uri="{FF2B5EF4-FFF2-40B4-BE49-F238E27FC236}">
                <a16:creationId xmlns:a16="http://schemas.microsoft.com/office/drawing/2014/main" id="{FF5C0579-2F70-4964-8677-9A9AEB4495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1339" y="899558"/>
            <a:ext cx="1369048" cy="122301"/>
          </a:xfrm>
          <a:prstGeom prst="rect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10141" b="7644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ijdelijke aanduiding voor dianummer 4">
            <a:extLst>
              <a:ext uri="{FF2B5EF4-FFF2-40B4-BE49-F238E27FC236}">
                <a16:creationId xmlns:a16="http://schemas.microsoft.com/office/drawing/2014/main" id="{BD6ED706-CE45-44B6-A65A-A135808EB2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680" y="6274117"/>
            <a:ext cx="44204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6866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hort + fixed imag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845B8C4-F605-422E-88DB-3381F1B3B0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3960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845B8C4-F605-422E-88DB-3381F1B3B0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944405FD-DFCF-4882-B7DB-1842BB7C982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>
              <a:latin typeface="Source Sans Pro" panose="020B0503030403020204" pitchFamily="34" charset="0"/>
              <a:ea typeface="+mj-ea"/>
              <a:cs typeface="+mj-cs"/>
              <a:sym typeface="Source Sans Pro" panose="020B0503030403020204" pitchFamily="34" charset="0"/>
            </a:endParaRPr>
          </a:p>
        </p:txBody>
      </p:sp>
      <p:pic>
        <p:nvPicPr>
          <p:cNvPr id="77" name="Tijdelijke aanduiding voor afbeelding 19">
            <a:extLst>
              <a:ext uri="{FF2B5EF4-FFF2-40B4-BE49-F238E27FC236}">
                <a16:creationId xmlns:a16="http://schemas.microsoft.com/office/drawing/2014/main" id="{2542DFB4-34FE-40F1-BA7B-D4CCFF638E5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821" y="1434"/>
            <a:ext cx="12201641" cy="6856566"/>
          </a:xfrm>
          <a:prstGeom prst="rect">
            <a:avLst/>
          </a:prstGeom>
        </p:spPr>
      </p:pic>
      <p:sp>
        <p:nvSpPr>
          <p:cNvPr id="7" name="Tekstvak 6"/>
          <p:cNvSpPr txBox="1"/>
          <p:nvPr userDrawn="1"/>
        </p:nvSpPr>
        <p:spPr>
          <a:xfrm>
            <a:off x="-10750" y="-662296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914400" rtl="0" eaLnBrk="1" latinLnBrk="0" hangingPunct="1"/>
            <a:r>
              <a:rPr lang="en-US" sz="2400" b="0" kern="1200" spc="50" baseline="0">
                <a:solidFill>
                  <a:schemeClr val="accent2"/>
                </a:solidFill>
                <a:latin typeface="+mj-lt"/>
                <a:ea typeface="+mn-ea"/>
                <a:cs typeface="Calibri" panose="020F0502020204030204" pitchFamily="34" charset="0"/>
              </a:rPr>
              <a:t>Title short + </a:t>
            </a:r>
            <a:r>
              <a:rPr lang="en-US" sz="2400" b="0" kern="1200" spc="50" baseline="0">
                <a:solidFill>
                  <a:schemeClr val="accent2"/>
                </a:solidFill>
                <a:latin typeface="+mn-lt"/>
                <a:ea typeface="+mn-ea"/>
                <a:cs typeface="Calibri" panose="020F0502020204030204" pitchFamily="34" charset="0"/>
              </a:rPr>
              <a:t>fixed image #2</a:t>
            </a:r>
            <a:endParaRPr lang="en-US" sz="2400" b="0" kern="1200" spc="50" baseline="0">
              <a:solidFill>
                <a:schemeClr val="accent2"/>
              </a:solidFill>
              <a:latin typeface="+mj-lt"/>
              <a:ea typeface="+mn-ea"/>
              <a:cs typeface="Calibri" panose="020F0502020204030204" pitchFamily="34" charset="0"/>
            </a:endParaRPr>
          </a:p>
        </p:txBody>
      </p:sp>
      <p:sp>
        <p:nvSpPr>
          <p:cNvPr id="14" name="Tijdelijke aanduiding voor tekst 13">
            <a:extLst>
              <a:ext uri="{FF2B5EF4-FFF2-40B4-BE49-F238E27FC236}">
                <a16:creationId xmlns:a16="http://schemas.microsoft.com/office/drawing/2014/main" id="{6D266F51-F81C-4F01-A9E7-4456E7E62A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11113" y="0"/>
            <a:ext cx="7289418" cy="4245610"/>
          </a:xfrm>
          <a:custGeom>
            <a:avLst/>
            <a:gdLst>
              <a:gd name="connsiteX0" fmla="*/ 6628976 w 7289418"/>
              <a:gd name="connsiteY0" fmla="*/ 0 h 4245610"/>
              <a:gd name="connsiteX1" fmla="*/ 6671319 w 7289418"/>
              <a:gd name="connsiteY1" fmla="*/ 94434 h 4245610"/>
              <a:gd name="connsiteX2" fmla="*/ 7217192 w 7289418"/>
              <a:gd name="connsiteY2" fmla="*/ 1774999 h 4245610"/>
              <a:gd name="connsiteX3" fmla="*/ 7283719 w 7289418"/>
              <a:gd name="connsiteY3" fmla="*/ 2071554 h 4245610"/>
              <a:gd name="connsiteX4" fmla="*/ 7112202 w 7289418"/>
              <a:gd name="connsiteY4" fmla="*/ 2348562 h 4245610"/>
              <a:gd name="connsiteX5" fmla="*/ 6821223 w 7289418"/>
              <a:gd name="connsiteY5" fmla="*/ 2420035 h 4245610"/>
              <a:gd name="connsiteX6" fmla="*/ 0 w 7289418"/>
              <a:gd name="connsiteY6" fmla="*/ 4245610 h 4245610"/>
              <a:gd name="connsiteX7" fmla="*/ 0 w 7289418"/>
              <a:gd name="connsiteY7" fmla="*/ 1 h 4245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89418" h="4245610">
                <a:moveTo>
                  <a:pt x="6628976" y="0"/>
                </a:moveTo>
                <a:lnTo>
                  <a:pt x="6671319" y="94434"/>
                </a:lnTo>
                <a:cubicBezTo>
                  <a:pt x="6909449" y="651413"/>
                  <a:pt x="7091196" y="1212036"/>
                  <a:pt x="7217192" y="1774999"/>
                </a:cubicBezTo>
                <a:lnTo>
                  <a:pt x="7283719" y="2071554"/>
                </a:lnTo>
                <a:cubicBezTo>
                  <a:pt x="7311471" y="2195253"/>
                  <a:pt x="7235248" y="2318324"/>
                  <a:pt x="7112202" y="2348562"/>
                </a:cubicBezTo>
                <a:lnTo>
                  <a:pt x="6821223" y="2420035"/>
                </a:lnTo>
                <a:lnTo>
                  <a:pt x="0" y="4245610"/>
                </a:lnTo>
                <a:lnTo>
                  <a:pt x="0" y="1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5" name="Titel 5">
            <a:extLst>
              <a:ext uri="{FF2B5EF4-FFF2-40B4-BE49-F238E27FC236}">
                <a16:creationId xmlns:a16="http://schemas.microsoft.com/office/drawing/2014/main" id="{20DBEB7A-7FB1-4F46-90EC-A1F387B9FD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9516" y="1298686"/>
            <a:ext cx="5800773" cy="490400"/>
          </a:xfrm>
        </p:spPr>
        <p:txBody>
          <a:bodyPr/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Template for a short title</a:t>
            </a:r>
            <a:endParaRPr lang="en-US"/>
          </a:p>
        </p:txBody>
      </p:sp>
      <p:sp>
        <p:nvSpPr>
          <p:cNvPr id="20" name="Tijdelijke aanduiding voor tekst 19">
            <a:extLst>
              <a:ext uri="{FF2B5EF4-FFF2-40B4-BE49-F238E27FC236}">
                <a16:creationId xmlns:a16="http://schemas.microsoft.com/office/drawing/2014/main" id="{FF5C0579-2F70-4964-8677-9A9AEB4495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1339" y="899558"/>
            <a:ext cx="1369048" cy="122301"/>
          </a:xfrm>
          <a:prstGeom prst="rect">
            <a:avLst/>
          </a:prstGeo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10141" b="7644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ijdelijke aanduiding voor dianummer 4">
            <a:extLst>
              <a:ext uri="{FF2B5EF4-FFF2-40B4-BE49-F238E27FC236}">
                <a16:creationId xmlns:a16="http://schemas.microsoft.com/office/drawing/2014/main" id="{30091A08-3DEA-4C52-81E5-47741FB42A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680" y="6274117"/>
            <a:ext cx="44204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79" name="Tijdelijke aanduiding voor verticale tekst 2">
            <a:extLst>
              <a:ext uri="{FF2B5EF4-FFF2-40B4-BE49-F238E27FC236}">
                <a16:creationId xmlns:a16="http://schemas.microsoft.com/office/drawing/2014/main" id="{9436207D-F2F6-4D82-8553-ECE1E3F080BF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899788" y="2013656"/>
            <a:ext cx="5800772" cy="267480"/>
          </a:xfrm>
        </p:spPr>
        <p:txBody>
          <a:bodyPr vert="horz" lIns="0" tIns="0" rIns="0" bIns="0"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  <a:lvl2pPr marL="217488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 algn="l"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Name | function</a:t>
            </a:r>
          </a:p>
        </p:txBody>
      </p:sp>
      <p:sp>
        <p:nvSpPr>
          <p:cNvPr id="80" name="Tijdelijke aanduiding voor verticale tekst 2">
            <a:extLst>
              <a:ext uri="{FF2B5EF4-FFF2-40B4-BE49-F238E27FC236}">
                <a16:creationId xmlns:a16="http://schemas.microsoft.com/office/drawing/2014/main" id="{916806B3-A71C-48C7-9112-2AD41C9857A8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899788" y="2440274"/>
            <a:ext cx="1694000" cy="183397"/>
          </a:xfrm>
        </p:spPr>
        <p:txBody>
          <a:bodyPr vert="horz" lIns="0" tIns="0" rIns="0" bIns="0" anchor="ctr"/>
          <a:lstStyle>
            <a:lvl1pPr marL="0" indent="0">
              <a:buNone/>
              <a:defRPr sz="1100">
                <a:solidFill>
                  <a:schemeClr val="accent2"/>
                </a:solidFill>
              </a:defRPr>
            </a:lvl1pPr>
            <a:lvl2pPr marL="217488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Location</a:t>
            </a:r>
          </a:p>
        </p:txBody>
      </p:sp>
      <p:sp>
        <p:nvSpPr>
          <p:cNvPr id="81" name="Tijdelijke aanduiding voor verticale tekst 2">
            <a:extLst>
              <a:ext uri="{FF2B5EF4-FFF2-40B4-BE49-F238E27FC236}">
                <a16:creationId xmlns:a16="http://schemas.microsoft.com/office/drawing/2014/main" id="{12BE65CD-CE96-429E-9C73-2F7DA43DFFFD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899788" y="2634868"/>
            <a:ext cx="1694000" cy="183397"/>
          </a:xfrm>
        </p:spPr>
        <p:txBody>
          <a:bodyPr vert="horz" lIns="0" tIns="0" rIns="0" bIns="0" anchor="ctr"/>
          <a:lstStyle>
            <a:lvl1pPr marL="0" indent="0">
              <a:buNone/>
              <a:defRPr sz="1100">
                <a:solidFill>
                  <a:schemeClr val="accent2"/>
                </a:solidFill>
              </a:defRPr>
            </a:lvl1pPr>
            <a:lvl2pPr marL="217488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644126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hort + fixed imag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B897F26-F14C-4F6B-987F-CCD3207E58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6695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B897F26-F14C-4F6B-987F-CCD3207E58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85E26C0-79C9-4062-8E7F-A75F942DAD4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>
              <a:latin typeface="Source Sans Pro" panose="020B0503030403020204" pitchFamily="34" charset="0"/>
              <a:ea typeface="+mj-ea"/>
              <a:cs typeface="+mj-cs"/>
              <a:sym typeface="Source Sans Pro" panose="020B0503030403020204" pitchFamily="34" charset="0"/>
            </a:endParaRPr>
          </a:p>
        </p:txBody>
      </p:sp>
      <p:sp>
        <p:nvSpPr>
          <p:cNvPr id="7" name="Tekstvak 6"/>
          <p:cNvSpPr txBox="1"/>
          <p:nvPr userDrawn="1"/>
        </p:nvSpPr>
        <p:spPr>
          <a:xfrm>
            <a:off x="-10750" y="-662296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914400" rtl="0" eaLnBrk="1" latinLnBrk="0" hangingPunct="1"/>
            <a:r>
              <a:rPr lang="en-US" sz="2400" b="0" kern="1200" spc="50" baseline="0">
                <a:solidFill>
                  <a:schemeClr val="accent2"/>
                </a:solidFill>
                <a:latin typeface="+mj-lt"/>
                <a:ea typeface="+mn-ea"/>
                <a:cs typeface="Calibri" panose="020F0502020204030204" pitchFamily="34" charset="0"/>
              </a:rPr>
              <a:t>Title short + </a:t>
            </a:r>
            <a:r>
              <a:rPr lang="en-US" sz="2400" b="0" kern="1200" spc="50" baseline="0">
                <a:solidFill>
                  <a:schemeClr val="accent2"/>
                </a:solidFill>
                <a:latin typeface="+mn-lt"/>
                <a:ea typeface="+mn-ea"/>
                <a:cs typeface="Calibri" panose="020F0502020204030204" pitchFamily="34" charset="0"/>
              </a:rPr>
              <a:t>fixed image #3</a:t>
            </a:r>
            <a:endParaRPr lang="en-US" sz="2400" b="0" kern="1200" spc="50" baseline="0">
              <a:solidFill>
                <a:schemeClr val="accent2"/>
              </a:solidFill>
              <a:latin typeface="+mj-lt"/>
              <a:ea typeface="+mn-ea"/>
              <a:cs typeface="Calibri" panose="020F0502020204030204" pitchFamily="34" charset="0"/>
            </a:endParaRPr>
          </a:p>
        </p:txBody>
      </p:sp>
      <p:sp>
        <p:nvSpPr>
          <p:cNvPr id="14" name="Tijdelijke aanduiding voor tekst 13">
            <a:extLst>
              <a:ext uri="{FF2B5EF4-FFF2-40B4-BE49-F238E27FC236}">
                <a16:creationId xmlns:a16="http://schemas.microsoft.com/office/drawing/2014/main" id="{6D266F51-F81C-4F01-A9E7-4456E7E62A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11113" y="0"/>
            <a:ext cx="7289418" cy="4245610"/>
          </a:xfrm>
          <a:custGeom>
            <a:avLst/>
            <a:gdLst>
              <a:gd name="connsiteX0" fmla="*/ 6628976 w 7289418"/>
              <a:gd name="connsiteY0" fmla="*/ 0 h 4245610"/>
              <a:gd name="connsiteX1" fmla="*/ 6671319 w 7289418"/>
              <a:gd name="connsiteY1" fmla="*/ 94434 h 4245610"/>
              <a:gd name="connsiteX2" fmla="*/ 7217192 w 7289418"/>
              <a:gd name="connsiteY2" fmla="*/ 1774999 h 4245610"/>
              <a:gd name="connsiteX3" fmla="*/ 7283719 w 7289418"/>
              <a:gd name="connsiteY3" fmla="*/ 2071554 h 4245610"/>
              <a:gd name="connsiteX4" fmla="*/ 7112202 w 7289418"/>
              <a:gd name="connsiteY4" fmla="*/ 2348562 h 4245610"/>
              <a:gd name="connsiteX5" fmla="*/ 6821223 w 7289418"/>
              <a:gd name="connsiteY5" fmla="*/ 2420035 h 4245610"/>
              <a:gd name="connsiteX6" fmla="*/ 0 w 7289418"/>
              <a:gd name="connsiteY6" fmla="*/ 4245610 h 4245610"/>
              <a:gd name="connsiteX7" fmla="*/ 0 w 7289418"/>
              <a:gd name="connsiteY7" fmla="*/ 1 h 4245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89418" h="4245610">
                <a:moveTo>
                  <a:pt x="6628976" y="0"/>
                </a:moveTo>
                <a:lnTo>
                  <a:pt x="6671319" y="94434"/>
                </a:lnTo>
                <a:cubicBezTo>
                  <a:pt x="6909449" y="651413"/>
                  <a:pt x="7091196" y="1212036"/>
                  <a:pt x="7217192" y="1774999"/>
                </a:cubicBezTo>
                <a:lnTo>
                  <a:pt x="7283719" y="2071554"/>
                </a:lnTo>
                <a:cubicBezTo>
                  <a:pt x="7311471" y="2195253"/>
                  <a:pt x="7235248" y="2318324"/>
                  <a:pt x="7112202" y="2348562"/>
                </a:cubicBezTo>
                <a:lnTo>
                  <a:pt x="6821223" y="2420035"/>
                </a:lnTo>
                <a:lnTo>
                  <a:pt x="0" y="4245610"/>
                </a:lnTo>
                <a:lnTo>
                  <a:pt x="0" y="1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5" name="Titel 5">
            <a:extLst>
              <a:ext uri="{FF2B5EF4-FFF2-40B4-BE49-F238E27FC236}">
                <a16:creationId xmlns:a16="http://schemas.microsoft.com/office/drawing/2014/main" id="{20DBEB7A-7FB1-4F46-90EC-A1F387B9FD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9516" y="1298686"/>
            <a:ext cx="5800773" cy="490400"/>
          </a:xfrm>
        </p:spPr>
        <p:txBody>
          <a:bodyPr/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Template for a short title</a:t>
            </a:r>
            <a:endParaRPr lang="en-US"/>
          </a:p>
        </p:txBody>
      </p:sp>
      <p:sp>
        <p:nvSpPr>
          <p:cNvPr id="20" name="Tijdelijke aanduiding voor tekst 19">
            <a:extLst>
              <a:ext uri="{FF2B5EF4-FFF2-40B4-BE49-F238E27FC236}">
                <a16:creationId xmlns:a16="http://schemas.microsoft.com/office/drawing/2014/main" id="{FF5C0579-2F70-4964-8677-9A9AEB4495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1339" y="899558"/>
            <a:ext cx="1369048" cy="122301"/>
          </a:xfrm>
          <a:prstGeom prst="rect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10141" b="7644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ijdelijke aanduiding voor dianummer 4">
            <a:extLst>
              <a:ext uri="{FF2B5EF4-FFF2-40B4-BE49-F238E27FC236}">
                <a16:creationId xmlns:a16="http://schemas.microsoft.com/office/drawing/2014/main" id="{6F8C28FB-270E-434B-AA2D-F9F7AA3E34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680" y="6274117"/>
            <a:ext cx="44204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79" name="Tijdelijke aanduiding voor verticale tekst 2">
            <a:extLst>
              <a:ext uri="{FF2B5EF4-FFF2-40B4-BE49-F238E27FC236}">
                <a16:creationId xmlns:a16="http://schemas.microsoft.com/office/drawing/2014/main" id="{4F1C34D5-00DC-459D-869B-560A74FCF0B2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899788" y="2013656"/>
            <a:ext cx="5800772" cy="267480"/>
          </a:xfrm>
        </p:spPr>
        <p:txBody>
          <a:bodyPr vert="horz" lIns="0" tIns="0" rIns="0" bIns="0"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  <a:lvl2pPr marL="217488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 algn="l"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Name | function</a:t>
            </a:r>
          </a:p>
        </p:txBody>
      </p:sp>
      <p:sp>
        <p:nvSpPr>
          <p:cNvPr id="80" name="Tijdelijke aanduiding voor verticale tekst 2">
            <a:extLst>
              <a:ext uri="{FF2B5EF4-FFF2-40B4-BE49-F238E27FC236}">
                <a16:creationId xmlns:a16="http://schemas.microsoft.com/office/drawing/2014/main" id="{DD24DA47-4268-4F5C-A7EE-445479C84886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899788" y="2440274"/>
            <a:ext cx="1694000" cy="183397"/>
          </a:xfrm>
        </p:spPr>
        <p:txBody>
          <a:bodyPr vert="horz" lIns="0" tIns="0" rIns="0" bIns="0" anchor="ctr"/>
          <a:lstStyle>
            <a:lvl1pPr marL="0" indent="0">
              <a:buNone/>
              <a:defRPr sz="1100">
                <a:solidFill>
                  <a:schemeClr val="accent2"/>
                </a:solidFill>
              </a:defRPr>
            </a:lvl1pPr>
            <a:lvl2pPr marL="217488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Location</a:t>
            </a:r>
          </a:p>
        </p:txBody>
      </p:sp>
      <p:sp>
        <p:nvSpPr>
          <p:cNvPr id="81" name="Tijdelijke aanduiding voor verticale tekst 2">
            <a:extLst>
              <a:ext uri="{FF2B5EF4-FFF2-40B4-BE49-F238E27FC236}">
                <a16:creationId xmlns:a16="http://schemas.microsoft.com/office/drawing/2014/main" id="{36C78B04-8B64-42B8-85BF-3D80107938C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899788" y="2634868"/>
            <a:ext cx="1694000" cy="183397"/>
          </a:xfrm>
        </p:spPr>
        <p:txBody>
          <a:bodyPr vert="horz" lIns="0" tIns="0" rIns="0" bIns="0" anchor="ctr"/>
          <a:lstStyle>
            <a:lvl1pPr marL="0" indent="0">
              <a:buNone/>
              <a:defRPr sz="1100">
                <a:solidFill>
                  <a:schemeClr val="accent2"/>
                </a:solidFill>
              </a:defRPr>
            </a:lvl1pPr>
            <a:lvl2pPr marL="217488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746752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h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3366DFB-BE4A-4BB1-8830-BADF05CB98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7476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3366DFB-BE4A-4BB1-8830-BADF05CB98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B8F717F4-9740-490D-BFE7-EF268B18025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>
              <a:latin typeface="Source Sans Pro" panose="020B0503030403020204" pitchFamily="34" charset="0"/>
              <a:ea typeface="+mj-ea"/>
              <a:cs typeface="+mj-cs"/>
              <a:sym typeface="Source Sans Pro" panose="020B0503030403020204" pitchFamily="34" charset="0"/>
            </a:endParaRPr>
          </a:p>
        </p:txBody>
      </p:sp>
      <p:sp>
        <p:nvSpPr>
          <p:cNvPr id="52" name="Tijdelijke aanduiding voor afbeelding 8">
            <a:extLst>
              <a:ext uri="{FF2B5EF4-FFF2-40B4-BE49-F238E27FC236}">
                <a16:creationId xmlns:a16="http://schemas.microsoft.com/office/drawing/2014/main" id="{A8AB96D0-8848-45C3-915C-A276917B390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5375" y="1434"/>
            <a:ext cx="12202750" cy="685656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he icon below </a:t>
            </a:r>
            <a:br>
              <a:rPr lang="en-US"/>
            </a:br>
            <a:r>
              <a:rPr lang="en-US"/>
              <a:t>to add an image.</a:t>
            </a:r>
            <a:br>
              <a:rPr lang="en-US"/>
            </a:br>
            <a:br>
              <a:rPr lang="en-US"/>
            </a:br>
            <a:r>
              <a:rPr lang="en-US"/>
              <a:t>Need additional help?</a:t>
            </a:r>
            <a:br>
              <a:rPr lang="en-US"/>
            </a:br>
            <a:r>
              <a:rPr lang="en-US"/>
              <a:t>To the side of the slides we’ve placed extra</a:t>
            </a:r>
            <a:br>
              <a:rPr lang="en-US"/>
            </a:br>
            <a:r>
              <a:rPr lang="en-US"/>
              <a:t> instructions how to process content. </a:t>
            </a:r>
          </a:p>
        </p:txBody>
      </p:sp>
      <p:sp>
        <p:nvSpPr>
          <p:cNvPr id="7" name="Tekstvak 6"/>
          <p:cNvSpPr txBox="1"/>
          <p:nvPr userDrawn="1"/>
        </p:nvSpPr>
        <p:spPr>
          <a:xfrm>
            <a:off x="-10750" y="-662296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914400" rtl="0" eaLnBrk="1" latinLnBrk="0" hangingPunct="1"/>
            <a:r>
              <a:rPr lang="en-US" sz="2400" b="0" kern="1200" spc="50" baseline="0">
                <a:solidFill>
                  <a:schemeClr val="accent2"/>
                </a:solidFill>
                <a:latin typeface="+mj-lt"/>
                <a:ea typeface="+mn-ea"/>
                <a:cs typeface="Calibri" panose="020F0502020204030204" pitchFamily="34" charset="0"/>
              </a:rPr>
              <a:t>Title short</a:t>
            </a:r>
          </a:p>
        </p:txBody>
      </p:sp>
      <p:sp>
        <p:nvSpPr>
          <p:cNvPr id="14" name="Tijdelijke aanduiding voor tekst 13">
            <a:extLst>
              <a:ext uri="{FF2B5EF4-FFF2-40B4-BE49-F238E27FC236}">
                <a16:creationId xmlns:a16="http://schemas.microsoft.com/office/drawing/2014/main" id="{6D266F51-F81C-4F01-A9E7-4456E7E62A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11113" y="0"/>
            <a:ext cx="7289418" cy="4245610"/>
          </a:xfrm>
          <a:custGeom>
            <a:avLst/>
            <a:gdLst>
              <a:gd name="connsiteX0" fmla="*/ 6628976 w 7289418"/>
              <a:gd name="connsiteY0" fmla="*/ 0 h 4245610"/>
              <a:gd name="connsiteX1" fmla="*/ 6671319 w 7289418"/>
              <a:gd name="connsiteY1" fmla="*/ 94434 h 4245610"/>
              <a:gd name="connsiteX2" fmla="*/ 7217192 w 7289418"/>
              <a:gd name="connsiteY2" fmla="*/ 1774999 h 4245610"/>
              <a:gd name="connsiteX3" fmla="*/ 7283719 w 7289418"/>
              <a:gd name="connsiteY3" fmla="*/ 2071554 h 4245610"/>
              <a:gd name="connsiteX4" fmla="*/ 7112202 w 7289418"/>
              <a:gd name="connsiteY4" fmla="*/ 2348562 h 4245610"/>
              <a:gd name="connsiteX5" fmla="*/ 6821223 w 7289418"/>
              <a:gd name="connsiteY5" fmla="*/ 2420035 h 4245610"/>
              <a:gd name="connsiteX6" fmla="*/ 0 w 7289418"/>
              <a:gd name="connsiteY6" fmla="*/ 4245610 h 4245610"/>
              <a:gd name="connsiteX7" fmla="*/ 0 w 7289418"/>
              <a:gd name="connsiteY7" fmla="*/ 1 h 4245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89418" h="4245610">
                <a:moveTo>
                  <a:pt x="6628976" y="0"/>
                </a:moveTo>
                <a:lnTo>
                  <a:pt x="6671319" y="94434"/>
                </a:lnTo>
                <a:cubicBezTo>
                  <a:pt x="6909449" y="651413"/>
                  <a:pt x="7091196" y="1212036"/>
                  <a:pt x="7217192" y="1774999"/>
                </a:cubicBezTo>
                <a:lnTo>
                  <a:pt x="7283719" y="2071554"/>
                </a:lnTo>
                <a:cubicBezTo>
                  <a:pt x="7311471" y="2195253"/>
                  <a:pt x="7235248" y="2318324"/>
                  <a:pt x="7112202" y="2348562"/>
                </a:cubicBezTo>
                <a:lnTo>
                  <a:pt x="6821223" y="2420035"/>
                </a:lnTo>
                <a:lnTo>
                  <a:pt x="0" y="4245610"/>
                </a:lnTo>
                <a:lnTo>
                  <a:pt x="0" y="1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5" name="Titel 5">
            <a:extLst>
              <a:ext uri="{FF2B5EF4-FFF2-40B4-BE49-F238E27FC236}">
                <a16:creationId xmlns:a16="http://schemas.microsoft.com/office/drawing/2014/main" id="{20DBEB7A-7FB1-4F46-90EC-A1F387B9FD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9516" y="1298686"/>
            <a:ext cx="5800773" cy="490400"/>
          </a:xfrm>
        </p:spPr>
        <p:txBody>
          <a:bodyPr/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Template for a short title</a:t>
            </a:r>
            <a:endParaRPr lang="en-US"/>
          </a:p>
        </p:txBody>
      </p:sp>
      <p:sp>
        <p:nvSpPr>
          <p:cNvPr id="20" name="Tijdelijke aanduiding voor tekst 19">
            <a:extLst>
              <a:ext uri="{FF2B5EF4-FFF2-40B4-BE49-F238E27FC236}">
                <a16:creationId xmlns:a16="http://schemas.microsoft.com/office/drawing/2014/main" id="{FF5C0579-2F70-4964-8677-9A9AEB4495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1339" y="899558"/>
            <a:ext cx="1369048" cy="122301"/>
          </a:xfrm>
          <a:prstGeom prst="rect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10141" b="7644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ijdelijke aanduiding voor dianummer 4">
            <a:extLst>
              <a:ext uri="{FF2B5EF4-FFF2-40B4-BE49-F238E27FC236}">
                <a16:creationId xmlns:a16="http://schemas.microsoft.com/office/drawing/2014/main" id="{BF54BF1F-5B7E-485A-8476-03F58D1728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680" y="6274117"/>
            <a:ext cx="44204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78" name="Tijdelijke aanduiding voor verticale tekst 2">
            <a:extLst>
              <a:ext uri="{FF2B5EF4-FFF2-40B4-BE49-F238E27FC236}">
                <a16:creationId xmlns:a16="http://schemas.microsoft.com/office/drawing/2014/main" id="{E0920D09-79C5-4F30-805D-DDC1AF3C9E9E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899788" y="2013656"/>
            <a:ext cx="5800772" cy="267480"/>
          </a:xfrm>
        </p:spPr>
        <p:txBody>
          <a:bodyPr vert="horz" lIns="0" tIns="0" rIns="0" bIns="0"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  <a:lvl2pPr marL="217488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 algn="l"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Name | function</a:t>
            </a:r>
          </a:p>
        </p:txBody>
      </p:sp>
      <p:sp>
        <p:nvSpPr>
          <p:cNvPr id="79" name="Tijdelijke aanduiding voor verticale tekst 2">
            <a:extLst>
              <a:ext uri="{FF2B5EF4-FFF2-40B4-BE49-F238E27FC236}">
                <a16:creationId xmlns:a16="http://schemas.microsoft.com/office/drawing/2014/main" id="{E0FC0470-1FFB-42A9-A2F1-365A6080550C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899788" y="2440274"/>
            <a:ext cx="1694000" cy="183397"/>
          </a:xfrm>
        </p:spPr>
        <p:txBody>
          <a:bodyPr vert="horz" lIns="0" tIns="0" rIns="0" bIns="0" anchor="ctr"/>
          <a:lstStyle>
            <a:lvl1pPr marL="0" indent="0">
              <a:buNone/>
              <a:defRPr sz="1100">
                <a:solidFill>
                  <a:schemeClr val="accent2"/>
                </a:solidFill>
              </a:defRPr>
            </a:lvl1pPr>
            <a:lvl2pPr marL="217488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Location</a:t>
            </a:r>
          </a:p>
        </p:txBody>
      </p:sp>
      <p:sp>
        <p:nvSpPr>
          <p:cNvPr id="80" name="Tijdelijke aanduiding voor verticale tekst 2">
            <a:extLst>
              <a:ext uri="{FF2B5EF4-FFF2-40B4-BE49-F238E27FC236}">
                <a16:creationId xmlns:a16="http://schemas.microsoft.com/office/drawing/2014/main" id="{C119B5D1-9504-4753-AC64-D4CF8960E112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899788" y="2634868"/>
            <a:ext cx="1694000" cy="183397"/>
          </a:xfrm>
        </p:spPr>
        <p:txBody>
          <a:bodyPr vert="horz" lIns="0" tIns="0" rIns="0" bIns="0" anchor="ctr"/>
          <a:lstStyle>
            <a:lvl1pPr marL="0" indent="0">
              <a:buNone/>
              <a:defRPr sz="1100">
                <a:solidFill>
                  <a:schemeClr val="accent2"/>
                </a:solidFill>
              </a:defRPr>
            </a:lvl1pPr>
            <a:lvl2pPr marL="217488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007757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lines + fixed imag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1DC458D-0633-4914-A6CD-D70AB4FDC5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0407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1DC458D-0633-4914-A6CD-D70AB4FDC5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6A2987AA-2405-44A8-8965-8D9C3787905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>
              <a:latin typeface="Source Sans Pro" panose="020B0503030403020204" pitchFamily="34" charset="0"/>
              <a:ea typeface="+mj-ea"/>
              <a:cs typeface="+mj-cs"/>
              <a:sym typeface="Source Sans Pro" panose="020B0503030403020204" pitchFamily="34" charset="0"/>
            </a:endParaRPr>
          </a:p>
        </p:txBody>
      </p:sp>
      <p:pic>
        <p:nvPicPr>
          <p:cNvPr id="78" name="Tijdelijke aanduiding voor afbeelding 19">
            <a:extLst>
              <a:ext uri="{FF2B5EF4-FFF2-40B4-BE49-F238E27FC236}">
                <a16:creationId xmlns:a16="http://schemas.microsoft.com/office/drawing/2014/main" id="{DC5BAAD9-BE87-4879-886D-2509EB45A64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5375" y="1434"/>
            <a:ext cx="12202750" cy="6856566"/>
          </a:xfrm>
          <a:prstGeom prst="rect">
            <a:avLst/>
          </a:prstGeom>
        </p:spPr>
      </p:pic>
      <p:sp>
        <p:nvSpPr>
          <p:cNvPr id="7" name="Tekstvak 6"/>
          <p:cNvSpPr txBox="1"/>
          <p:nvPr userDrawn="1"/>
        </p:nvSpPr>
        <p:spPr>
          <a:xfrm>
            <a:off x="-10750" y="-662296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914400" rtl="0" eaLnBrk="1" latinLnBrk="0" hangingPunct="1"/>
            <a:r>
              <a:rPr lang="en-US" sz="2400" b="0" kern="1200" spc="50" baseline="0">
                <a:solidFill>
                  <a:schemeClr val="accent2"/>
                </a:solidFill>
                <a:latin typeface="+mj-lt"/>
                <a:ea typeface="+mn-ea"/>
                <a:cs typeface="Calibri" panose="020F0502020204030204" pitchFamily="34" charset="0"/>
              </a:rPr>
              <a:t>Title 2 lines + </a:t>
            </a:r>
            <a:r>
              <a:rPr lang="en-US" sz="2400" b="0" kern="1200" spc="50" baseline="0">
                <a:solidFill>
                  <a:schemeClr val="accent2"/>
                </a:solidFill>
                <a:latin typeface="+mn-lt"/>
                <a:ea typeface="+mn-ea"/>
                <a:cs typeface="Calibri" panose="020F0502020204030204" pitchFamily="34" charset="0"/>
              </a:rPr>
              <a:t>fixed image #1</a:t>
            </a:r>
            <a:endParaRPr lang="en-US" sz="2400" b="0" kern="1200" spc="50" baseline="0">
              <a:solidFill>
                <a:schemeClr val="accent2"/>
              </a:solidFill>
              <a:latin typeface="+mj-lt"/>
              <a:ea typeface="+mn-ea"/>
              <a:cs typeface="Calibri" panose="020F0502020204030204" pitchFamily="34" charset="0"/>
            </a:endParaRPr>
          </a:p>
        </p:txBody>
      </p:sp>
      <p:sp>
        <p:nvSpPr>
          <p:cNvPr id="22" name="Tijdelijke aanduiding voor tekst 21">
            <a:extLst>
              <a:ext uri="{FF2B5EF4-FFF2-40B4-BE49-F238E27FC236}">
                <a16:creationId xmlns:a16="http://schemas.microsoft.com/office/drawing/2014/main" id="{002D0498-94A0-40FD-B973-91622C2A79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11114" y="-1"/>
            <a:ext cx="7289277" cy="4827069"/>
          </a:xfrm>
          <a:custGeom>
            <a:avLst/>
            <a:gdLst>
              <a:gd name="connsiteX0" fmla="*/ 0 w 7289277"/>
              <a:gd name="connsiteY0" fmla="*/ 0 h 4827069"/>
              <a:gd name="connsiteX1" fmla="*/ 6313176 w 7289277"/>
              <a:gd name="connsiteY1" fmla="*/ 0 h 4827069"/>
              <a:gd name="connsiteX2" fmla="*/ 6420957 w 7289277"/>
              <a:gd name="connsiteY2" fmla="*/ 202272 h 4827069"/>
              <a:gd name="connsiteX3" fmla="*/ 7221911 w 7289277"/>
              <a:gd name="connsiteY3" fmla="*/ 2391463 h 4827069"/>
              <a:gd name="connsiteX4" fmla="*/ 7283962 w 7289277"/>
              <a:gd name="connsiteY4" fmla="*/ 2668064 h 4827069"/>
              <a:gd name="connsiteX5" fmla="*/ 7123985 w 7289277"/>
              <a:gd name="connsiteY5" fmla="*/ 2926435 h 4827069"/>
              <a:gd name="connsiteX6" fmla="*/ 6852583 w 7289277"/>
              <a:gd name="connsiteY6" fmla="*/ 2993100 h 4827069"/>
              <a:gd name="connsiteX7" fmla="*/ 0 w 7289277"/>
              <a:gd name="connsiteY7" fmla="*/ 4827069 h 48270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89277" h="4827069">
                <a:moveTo>
                  <a:pt x="0" y="0"/>
                </a:moveTo>
                <a:lnTo>
                  <a:pt x="6313176" y="0"/>
                </a:lnTo>
                <a:lnTo>
                  <a:pt x="6420957" y="202272"/>
                </a:lnTo>
                <a:cubicBezTo>
                  <a:pt x="6790939" y="925501"/>
                  <a:pt x="7057384" y="1656342"/>
                  <a:pt x="7221911" y="2391463"/>
                </a:cubicBezTo>
                <a:lnTo>
                  <a:pt x="7283962" y="2668064"/>
                </a:lnTo>
                <a:cubicBezTo>
                  <a:pt x="7309846" y="2783440"/>
                  <a:pt x="7238751" y="2898232"/>
                  <a:pt x="7123985" y="2926435"/>
                </a:cubicBezTo>
                <a:lnTo>
                  <a:pt x="6852583" y="2993100"/>
                </a:lnTo>
                <a:lnTo>
                  <a:pt x="0" y="482706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5" name="Titel 5">
            <a:extLst>
              <a:ext uri="{FF2B5EF4-FFF2-40B4-BE49-F238E27FC236}">
                <a16:creationId xmlns:a16="http://schemas.microsoft.com/office/drawing/2014/main" id="{20DBEB7A-7FB1-4F46-90EC-A1F387B9FD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9517" y="1298686"/>
            <a:ext cx="5651922" cy="1141854"/>
          </a:xfrm>
        </p:spPr>
        <p:txBody>
          <a:bodyPr/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Template for  a long title</a:t>
            </a:r>
            <a:br>
              <a:rPr lang="en-US" noProof="0"/>
            </a:br>
            <a:r>
              <a:rPr lang="en-US" noProof="0"/>
              <a:t>over two lines</a:t>
            </a:r>
            <a:endParaRPr lang="en-US"/>
          </a:p>
        </p:txBody>
      </p:sp>
      <p:sp>
        <p:nvSpPr>
          <p:cNvPr id="77" name="Tijdelijke aanduiding voor tekst 19">
            <a:extLst>
              <a:ext uri="{FF2B5EF4-FFF2-40B4-BE49-F238E27FC236}">
                <a16:creationId xmlns:a16="http://schemas.microsoft.com/office/drawing/2014/main" id="{3C679BF6-C6F0-4DA8-9300-B2D0B37F8B8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1339" y="899558"/>
            <a:ext cx="1369048" cy="122301"/>
          </a:xfrm>
          <a:prstGeom prst="rect">
            <a:avLst/>
          </a:prstGeo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10141" b="7644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9" name="Tijdelijke aanduiding voor dianummer 4">
            <a:extLst>
              <a:ext uri="{FF2B5EF4-FFF2-40B4-BE49-F238E27FC236}">
                <a16:creationId xmlns:a16="http://schemas.microsoft.com/office/drawing/2014/main" id="{A5EA1BA3-A1A9-47E2-A2BA-0783A0E97F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680" y="6274117"/>
            <a:ext cx="44204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80" name="Tijdelijke aanduiding voor verticale tekst 2">
            <a:extLst>
              <a:ext uri="{FF2B5EF4-FFF2-40B4-BE49-F238E27FC236}">
                <a16:creationId xmlns:a16="http://schemas.microsoft.com/office/drawing/2014/main" id="{394B27AD-91EE-473F-856A-DDBF1BAA26EC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899788" y="2612274"/>
            <a:ext cx="5661651" cy="267480"/>
          </a:xfrm>
        </p:spPr>
        <p:txBody>
          <a:bodyPr vert="horz" lIns="0" tIns="0" rIns="0" bIns="0"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  <a:lvl2pPr marL="217488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 algn="l"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Name | function</a:t>
            </a:r>
          </a:p>
        </p:txBody>
      </p:sp>
      <p:sp>
        <p:nvSpPr>
          <p:cNvPr id="81" name="Tijdelijke aanduiding voor verticale tekst 2">
            <a:extLst>
              <a:ext uri="{FF2B5EF4-FFF2-40B4-BE49-F238E27FC236}">
                <a16:creationId xmlns:a16="http://schemas.microsoft.com/office/drawing/2014/main" id="{EDF8A1BB-2E96-402A-B384-667B50F2970C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899788" y="3038892"/>
            <a:ext cx="1694000" cy="183397"/>
          </a:xfrm>
        </p:spPr>
        <p:txBody>
          <a:bodyPr vert="horz" lIns="0" tIns="0" rIns="0" bIns="0" anchor="ctr"/>
          <a:lstStyle>
            <a:lvl1pPr marL="0" indent="0">
              <a:buNone/>
              <a:defRPr sz="1100">
                <a:solidFill>
                  <a:schemeClr val="accent2"/>
                </a:solidFill>
              </a:defRPr>
            </a:lvl1pPr>
            <a:lvl2pPr marL="217488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Location</a:t>
            </a:r>
          </a:p>
        </p:txBody>
      </p:sp>
      <p:sp>
        <p:nvSpPr>
          <p:cNvPr id="82" name="Tijdelijke aanduiding voor verticale tekst 2">
            <a:extLst>
              <a:ext uri="{FF2B5EF4-FFF2-40B4-BE49-F238E27FC236}">
                <a16:creationId xmlns:a16="http://schemas.microsoft.com/office/drawing/2014/main" id="{F29DECF9-2F7C-4466-864E-B3BDDE84DDB2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99788" y="3233486"/>
            <a:ext cx="1694000" cy="183397"/>
          </a:xfrm>
        </p:spPr>
        <p:txBody>
          <a:bodyPr vert="horz" lIns="0" tIns="0" rIns="0" bIns="0" anchor="ctr"/>
          <a:lstStyle>
            <a:lvl1pPr marL="0" indent="0">
              <a:buNone/>
              <a:defRPr sz="1100">
                <a:solidFill>
                  <a:schemeClr val="accent2"/>
                </a:solidFill>
              </a:defRPr>
            </a:lvl1pPr>
            <a:lvl2pPr marL="217488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031012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lines + fixed imag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E49C86A-A49B-4261-B10E-6E325B926D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8314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8E49C86A-A49B-4261-B10E-6E325B926D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02F845C-E42C-46A1-AF13-C68E0E33C88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>
              <a:latin typeface="Source Sans Pro" panose="020B0503030403020204" pitchFamily="34" charset="0"/>
              <a:ea typeface="+mj-ea"/>
              <a:cs typeface="+mj-cs"/>
              <a:sym typeface="Source Sans Pro" panose="020B0503030403020204" pitchFamily="34" charset="0"/>
            </a:endParaRPr>
          </a:p>
        </p:txBody>
      </p:sp>
      <p:pic>
        <p:nvPicPr>
          <p:cNvPr id="78" name="Tijdelijke aanduiding voor afbeelding 19">
            <a:extLst>
              <a:ext uri="{FF2B5EF4-FFF2-40B4-BE49-F238E27FC236}">
                <a16:creationId xmlns:a16="http://schemas.microsoft.com/office/drawing/2014/main" id="{DC5BAAD9-BE87-4879-886D-2509EB45A64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821" y="1434"/>
            <a:ext cx="12201641" cy="6856566"/>
          </a:xfrm>
          <a:prstGeom prst="rect">
            <a:avLst/>
          </a:prstGeom>
        </p:spPr>
      </p:pic>
      <p:sp>
        <p:nvSpPr>
          <p:cNvPr id="7" name="Tekstvak 6"/>
          <p:cNvSpPr txBox="1"/>
          <p:nvPr userDrawn="1"/>
        </p:nvSpPr>
        <p:spPr>
          <a:xfrm>
            <a:off x="-10750" y="-662296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914400" rtl="0" eaLnBrk="1" latinLnBrk="0" hangingPunct="1"/>
            <a:r>
              <a:rPr lang="en-US" sz="2400" b="0" kern="1200" spc="50" baseline="0">
                <a:solidFill>
                  <a:schemeClr val="accent2"/>
                </a:solidFill>
                <a:latin typeface="+mj-lt"/>
                <a:ea typeface="+mn-ea"/>
                <a:cs typeface="Calibri" panose="020F0502020204030204" pitchFamily="34" charset="0"/>
              </a:rPr>
              <a:t>Title 2 lines + </a:t>
            </a:r>
            <a:r>
              <a:rPr lang="en-US" sz="2400" b="0" kern="1200" spc="50" baseline="0">
                <a:solidFill>
                  <a:schemeClr val="accent2"/>
                </a:solidFill>
                <a:latin typeface="+mn-lt"/>
                <a:ea typeface="+mn-ea"/>
                <a:cs typeface="Calibri" panose="020F0502020204030204" pitchFamily="34" charset="0"/>
              </a:rPr>
              <a:t>fixed image #2</a:t>
            </a:r>
            <a:endParaRPr lang="en-US" sz="2400" b="0" kern="1200" spc="50" baseline="0">
              <a:solidFill>
                <a:schemeClr val="accent2"/>
              </a:solidFill>
              <a:latin typeface="+mj-lt"/>
              <a:ea typeface="+mn-ea"/>
              <a:cs typeface="Calibri" panose="020F0502020204030204" pitchFamily="34" charset="0"/>
            </a:endParaRPr>
          </a:p>
        </p:txBody>
      </p:sp>
      <p:sp>
        <p:nvSpPr>
          <p:cNvPr id="22" name="Tijdelijke aanduiding voor tekst 21">
            <a:extLst>
              <a:ext uri="{FF2B5EF4-FFF2-40B4-BE49-F238E27FC236}">
                <a16:creationId xmlns:a16="http://schemas.microsoft.com/office/drawing/2014/main" id="{002D0498-94A0-40FD-B973-91622C2A79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11114" y="-1"/>
            <a:ext cx="7289277" cy="4827069"/>
          </a:xfrm>
          <a:custGeom>
            <a:avLst/>
            <a:gdLst>
              <a:gd name="connsiteX0" fmla="*/ 0 w 7289277"/>
              <a:gd name="connsiteY0" fmla="*/ 0 h 4827069"/>
              <a:gd name="connsiteX1" fmla="*/ 6313176 w 7289277"/>
              <a:gd name="connsiteY1" fmla="*/ 0 h 4827069"/>
              <a:gd name="connsiteX2" fmla="*/ 6420957 w 7289277"/>
              <a:gd name="connsiteY2" fmla="*/ 202272 h 4827069"/>
              <a:gd name="connsiteX3" fmla="*/ 7221911 w 7289277"/>
              <a:gd name="connsiteY3" fmla="*/ 2391463 h 4827069"/>
              <a:gd name="connsiteX4" fmla="*/ 7283962 w 7289277"/>
              <a:gd name="connsiteY4" fmla="*/ 2668064 h 4827069"/>
              <a:gd name="connsiteX5" fmla="*/ 7123985 w 7289277"/>
              <a:gd name="connsiteY5" fmla="*/ 2926435 h 4827069"/>
              <a:gd name="connsiteX6" fmla="*/ 6852583 w 7289277"/>
              <a:gd name="connsiteY6" fmla="*/ 2993100 h 4827069"/>
              <a:gd name="connsiteX7" fmla="*/ 0 w 7289277"/>
              <a:gd name="connsiteY7" fmla="*/ 4827069 h 48270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89277" h="4827069">
                <a:moveTo>
                  <a:pt x="0" y="0"/>
                </a:moveTo>
                <a:lnTo>
                  <a:pt x="6313176" y="0"/>
                </a:lnTo>
                <a:lnTo>
                  <a:pt x="6420957" y="202272"/>
                </a:lnTo>
                <a:cubicBezTo>
                  <a:pt x="6790939" y="925501"/>
                  <a:pt x="7057384" y="1656342"/>
                  <a:pt x="7221911" y="2391463"/>
                </a:cubicBezTo>
                <a:lnTo>
                  <a:pt x="7283962" y="2668064"/>
                </a:lnTo>
                <a:cubicBezTo>
                  <a:pt x="7309846" y="2783440"/>
                  <a:pt x="7238751" y="2898232"/>
                  <a:pt x="7123985" y="2926435"/>
                </a:cubicBezTo>
                <a:lnTo>
                  <a:pt x="6852583" y="2993100"/>
                </a:lnTo>
                <a:lnTo>
                  <a:pt x="0" y="482706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5" name="Titel 5">
            <a:extLst>
              <a:ext uri="{FF2B5EF4-FFF2-40B4-BE49-F238E27FC236}">
                <a16:creationId xmlns:a16="http://schemas.microsoft.com/office/drawing/2014/main" id="{20DBEB7A-7FB1-4F46-90EC-A1F387B9FD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9517" y="1298686"/>
            <a:ext cx="5651922" cy="1141854"/>
          </a:xfrm>
        </p:spPr>
        <p:txBody>
          <a:bodyPr/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Template for  a long title</a:t>
            </a:r>
            <a:br>
              <a:rPr lang="en-US" noProof="0"/>
            </a:br>
            <a:r>
              <a:rPr lang="en-US" noProof="0"/>
              <a:t>over two lines</a:t>
            </a:r>
            <a:endParaRPr lang="en-US"/>
          </a:p>
        </p:txBody>
      </p:sp>
      <p:sp>
        <p:nvSpPr>
          <p:cNvPr id="77" name="Tijdelijke aanduiding voor tekst 19">
            <a:extLst>
              <a:ext uri="{FF2B5EF4-FFF2-40B4-BE49-F238E27FC236}">
                <a16:creationId xmlns:a16="http://schemas.microsoft.com/office/drawing/2014/main" id="{3C679BF6-C6F0-4DA8-9300-B2D0B37F8B8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1339" y="899558"/>
            <a:ext cx="1369048" cy="122301"/>
          </a:xfrm>
          <a:prstGeom prst="rect">
            <a:avLst/>
          </a:prstGeo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10141" b="7644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9" name="Tijdelijke aanduiding voor dianummer 4">
            <a:extLst>
              <a:ext uri="{FF2B5EF4-FFF2-40B4-BE49-F238E27FC236}">
                <a16:creationId xmlns:a16="http://schemas.microsoft.com/office/drawing/2014/main" id="{FBD12061-66F1-4151-BB1A-84383B2220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680" y="6274117"/>
            <a:ext cx="44204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80" name="Tijdelijke aanduiding voor verticale tekst 2">
            <a:extLst>
              <a:ext uri="{FF2B5EF4-FFF2-40B4-BE49-F238E27FC236}">
                <a16:creationId xmlns:a16="http://schemas.microsoft.com/office/drawing/2014/main" id="{A7E452E3-0FFE-404B-881B-C0B4BF4F4F2C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899788" y="2612274"/>
            <a:ext cx="5661651" cy="267480"/>
          </a:xfrm>
        </p:spPr>
        <p:txBody>
          <a:bodyPr vert="horz" lIns="0" tIns="0" rIns="0" bIns="0"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  <a:lvl2pPr marL="217488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 algn="l"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Name | function</a:t>
            </a:r>
          </a:p>
        </p:txBody>
      </p:sp>
      <p:sp>
        <p:nvSpPr>
          <p:cNvPr id="81" name="Tijdelijke aanduiding voor verticale tekst 2">
            <a:extLst>
              <a:ext uri="{FF2B5EF4-FFF2-40B4-BE49-F238E27FC236}">
                <a16:creationId xmlns:a16="http://schemas.microsoft.com/office/drawing/2014/main" id="{38EF40A0-E8AB-4B23-B981-1B36844DFE8A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899788" y="3038892"/>
            <a:ext cx="1694000" cy="183397"/>
          </a:xfrm>
        </p:spPr>
        <p:txBody>
          <a:bodyPr vert="horz" lIns="0" tIns="0" rIns="0" bIns="0" anchor="ctr"/>
          <a:lstStyle>
            <a:lvl1pPr marL="0" indent="0">
              <a:buNone/>
              <a:defRPr sz="1100">
                <a:solidFill>
                  <a:schemeClr val="accent2"/>
                </a:solidFill>
              </a:defRPr>
            </a:lvl1pPr>
            <a:lvl2pPr marL="217488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Location</a:t>
            </a:r>
          </a:p>
        </p:txBody>
      </p:sp>
      <p:sp>
        <p:nvSpPr>
          <p:cNvPr id="82" name="Tijdelijke aanduiding voor verticale tekst 2">
            <a:extLst>
              <a:ext uri="{FF2B5EF4-FFF2-40B4-BE49-F238E27FC236}">
                <a16:creationId xmlns:a16="http://schemas.microsoft.com/office/drawing/2014/main" id="{0D5393FF-70CD-4386-9CEC-BC97FDEDEC74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99788" y="3233486"/>
            <a:ext cx="1694000" cy="183397"/>
          </a:xfrm>
        </p:spPr>
        <p:txBody>
          <a:bodyPr vert="horz" lIns="0" tIns="0" rIns="0" bIns="0" anchor="ctr"/>
          <a:lstStyle>
            <a:lvl1pPr marL="0" marR="0" indent="0" algn="l" defTabSz="71913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  <a:tabLst/>
              <a:defRPr sz="1100">
                <a:solidFill>
                  <a:schemeClr val="accent2"/>
                </a:solidFill>
              </a:defRPr>
            </a:lvl1pPr>
            <a:lvl2pPr marL="217488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marL="0" marR="0" lvl="0" indent="0" algn="l" defTabSz="71913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  <a:tabLst/>
              <a:defRPr/>
            </a:pPr>
            <a:r>
              <a:rPr lang="en-US" noProof="0"/>
              <a:t>Date</a:t>
            </a:r>
          </a:p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256080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h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ijdelijke aanduiding voor afbeelding 8">
            <a:extLst>
              <a:ext uri="{FF2B5EF4-FFF2-40B4-BE49-F238E27FC236}">
                <a16:creationId xmlns:a16="http://schemas.microsoft.com/office/drawing/2014/main" id="{A8AB96D0-8848-45C3-915C-A276917B390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5376" y="1434"/>
            <a:ext cx="12202751" cy="685656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/>
              <a:t>Click the icon below </a:t>
            </a:r>
            <a:br>
              <a:rPr lang="en-GB"/>
            </a:br>
            <a:r>
              <a:rPr lang="en-GB"/>
              <a:t>to add an image.</a:t>
            </a:r>
            <a:br>
              <a:rPr lang="en-GB"/>
            </a:br>
            <a:br>
              <a:rPr lang="en-GB"/>
            </a:br>
            <a:r>
              <a:rPr lang="en-GB"/>
              <a:t>Need additional help?</a:t>
            </a:r>
            <a:br>
              <a:rPr lang="en-GB"/>
            </a:br>
            <a:r>
              <a:rPr lang="en-GB"/>
              <a:t>To the side of the slides we’ve placed extra</a:t>
            </a:r>
            <a:br>
              <a:rPr lang="en-GB"/>
            </a:br>
            <a:r>
              <a:rPr lang="en-GB"/>
              <a:t> instructions how to process content. </a:t>
            </a:r>
          </a:p>
        </p:txBody>
      </p:sp>
      <p:sp>
        <p:nvSpPr>
          <p:cNvPr id="14" name="Tijdelijke aanduiding voor tekst 13">
            <a:extLst>
              <a:ext uri="{FF2B5EF4-FFF2-40B4-BE49-F238E27FC236}">
                <a16:creationId xmlns:a16="http://schemas.microsoft.com/office/drawing/2014/main" id="{6D266F51-F81C-4F01-A9E7-4456E7E62A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11114" y="0"/>
            <a:ext cx="7289419" cy="4245611"/>
          </a:xfrm>
          <a:custGeom>
            <a:avLst/>
            <a:gdLst>
              <a:gd name="connsiteX0" fmla="*/ 6628976 w 7289418"/>
              <a:gd name="connsiteY0" fmla="*/ 0 h 4245610"/>
              <a:gd name="connsiteX1" fmla="*/ 6671319 w 7289418"/>
              <a:gd name="connsiteY1" fmla="*/ 94434 h 4245610"/>
              <a:gd name="connsiteX2" fmla="*/ 7217192 w 7289418"/>
              <a:gd name="connsiteY2" fmla="*/ 1774999 h 4245610"/>
              <a:gd name="connsiteX3" fmla="*/ 7283719 w 7289418"/>
              <a:gd name="connsiteY3" fmla="*/ 2071554 h 4245610"/>
              <a:gd name="connsiteX4" fmla="*/ 7112202 w 7289418"/>
              <a:gd name="connsiteY4" fmla="*/ 2348562 h 4245610"/>
              <a:gd name="connsiteX5" fmla="*/ 6821223 w 7289418"/>
              <a:gd name="connsiteY5" fmla="*/ 2420035 h 4245610"/>
              <a:gd name="connsiteX6" fmla="*/ 0 w 7289418"/>
              <a:gd name="connsiteY6" fmla="*/ 4245610 h 4245610"/>
              <a:gd name="connsiteX7" fmla="*/ 0 w 7289418"/>
              <a:gd name="connsiteY7" fmla="*/ 1 h 4245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89418" h="4245610">
                <a:moveTo>
                  <a:pt x="6628976" y="0"/>
                </a:moveTo>
                <a:lnTo>
                  <a:pt x="6671319" y="94434"/>
                </a:lnTo>
                <a:cubicBezTo>
                  <a:pt x="6909449" y="651413"/>
                  <a:pt x="7091196" y="1212036"/>
                  <a:pt x="7217192" y="1774999"/>
                </a:cubicBezTo>
                <a:lnTo>
                  <a:pt x="7283719" y="2071554"/>
                </a:lnTo>
                <a:cubicBezTo>
                  <a:pt x="7311471" y="2195253"/>
                  <a:pt x="7235248" y="2318324"/>
                  <a:pt x="7112202" y="2348562"/>
                </a:cubicBezTo>
                <a:lnTo>
                  <a:pt x="6821223" y="2420035"/>
                </a:lnTo>
                <a:lnTo>
                  <a:pt x="0" y="4245610"/>
                </a:lnTo>
                <a:lnTo>
                  <a:pt x="0" y="1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5" name="Titel 5">
            <a:extLst>
              <a:ext uri="{FF2B5EF4-FFF2-40B4-BE49-F238E27FC236}">
                <a16:creationId xmlns:a16="http://schemas.microsoft.com/office/drawing/2014/main" id="{20DBEB7A-7FB1-4F46-90EC-A1F387B9FD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9516" y="1298687"/>
            <a:ext cx="5800773" cy="490400"/>
          </a:xfrm>
        </p:spPr>
        <p:txBody>
          <a:bodyPr/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GB" noProof="0"/>
              <a:t>Template for a short title</a:t>
            </a:r>
            <a:endParaRPr lang="en-GB"/>
          </a:p>
        </p:txBody>
      </p:sp>
      <p:sp>
        <p:nvSpPr>
          <p:cNvPr id="20" name="Tijdelijke aanduiding voor tekst 19">
            <a:extLst>
              <a:ext uri="{FF2B5EF4-FFF2-40B4-BE49-F238E27FC236}">
                <a16:creationId xmlns:a16="http://schemas.microsoft.com/office/drawing/2014/main" id="{FF5C0579-2F70-4964-8677-9A9AEB4495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1339" y="899559"/>
            <a:ext cx="1369048" cy="122301"/>
          </a:xfrm>
          <a:prstGeom prst="rect">
            <a:avLst/>
          </a:prstGeom>
          <a:blipFill>
            <a:blip r:embed="rId2"/>
            <a:srcRect/>
            <a:stretch>
              <a:fillRect t="10141" b="7644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77" name="Tijdelijke aanduiding voor dianummer 4">
            <a:extLst>
              <a:ext uri="{FF2B5EF4-FFF2-40B4-BE49-F238E27FC236}">
                <a16:creationId xmlns:a16="http://schemas.microsoft.com/office/drawing/2014/main" id="{BF54BF1F-5B7E-485A-8476-03F58D1728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681" y="6274118"/>
            <a:ext cx="44204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78" name="Tijdelijke aanduiding voor verticale tekst 2">
            <a:extLst>
              <a:ext uri="{FF2B5EF4-FFF2-40B4-BE49-F238E27FC236}">
                <a16:creationId xmlns:a16="http://schemas.microsoft.com/office/drawing/2014/main" id="{E0920D09-79C5-4F30-805D-DDC1AF3C9E9E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899789" y="2013656"/>
            <a:ext cx="5800772" cy="267480"/>
          </a:xfrm>
        </p:spPr>
        <p:txBody>
          <a:bodyPr vert="horz" lIns="0" tIns="0" rIns="0" bIns="0"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  <a:lvl2pPr marL="217483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 algn="l"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Name | function</a:t>
            </a:r>
          </a:p>
        </p:txBody>
      </p:sp>
      <p:sp>
        <p:nvSpPr>
          <p:cNvPr id="79" name="Tijdelijke aanduiding voor verticale tekst 2">
            <a:extLst>
              <a:ext uri="{FF2B5EF4-FFF2-40B4-BE49-F238E27FC236}">
                <a16:creationId xmlns:a16="http://schemas.microsoft.com/office/drawing/2014/main" id="{E0FC0470-1FFB-42A9-A2F1-365A6080550C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899788" y="2440275"/>
            <a:ext cx="1694000" cy="183397"/>
          </a:xfrm>
        </p:spPr>
        <p:txBody>
          <a:bodyPr vert="horz" lIns="0" tIns="0" rIns="0" bIns="0" anchor="ctr"/>
          <a:lstStyle>
            <a:lvl1pPr marL="0" indent="0">
              <a:buNone/>
              <a:defRPr sz="1100">
                <a:solidFill>
                  <a:schemeClr val="accent2"/>
                </a:solidFill>
              </a:defRPr>
            </a:lvl1pPr>
            <a:lvl2pPr marL="217483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Location</a:t>
            </a:r>
          </a:p>
        </p:txBody>
      </p:sp>
      <p:sp>
        <p:nvSpPr>
          <p:cNvPr id="80" name="Tijdelijke aanduiding voor verticale tekst 2">
            <a:extLst>
              <a:ext uri="{FF2B5EF4-FFF2-40B4-BE49-F238E27FC236}">
                <a16:creationId xmlns:a16="http://schemas.microsoft.com/office/drawing/2014/main" id="{C119B5D1-9504-4753-AC64-D4CF8960E112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899788" y="2634868"/>
            <a:ext cx="1694000" cy="183397"/>
          </a:xfrm>
        </p:spPr>
        <p:txBody>
          <a:bodyPr vert="horz" lIns="0" tIns="0" rIns="0" bIns="0" anchor="ctr"/>
          <a:lstStyle>
            <a:lvl1pPr marL="0" indent="0">
              <a:buNone/>
              <a:defRPr sz="1100">
                <a:solidFill>
                  <a:schemeClr val="accent2"/>
                </a:solidFill>
              </a:defRPr>
            </a:lvl1pPr>
            <a:lvl2pPr marL="217483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978654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lines + fixed imag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FF458AC-F219-4537-B7C9-A66C41AACA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4047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8FF458AC-F219-4537-B7C9-A66C41AACA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DA7C122-C959-440B-A687-DA8304489C3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>
              <a:latin typeface="Source Sans Pro" panose="020B0503030403020204" pitchFamily="34" charset="0"/>
              <a:ea typeface="+mj-ea"/>
              <a:cs typeface="+mj-cs"/>
              <a:sym typeface="Source Sans Pro" panose="020B0503030403020204" pitchFamily="34" charset="0"/>
            </a:endParaRPr>
          </a:p>
        </p:txBody>
      </p:sp>
      <p:sp>
        <p:nvSpPr>
          <p:cNvPr id="7" name="Tekstvak 6"/>
          <p:cNvSpPr txBox="1"/>
          <p:nvPr userDrawn="1"/>
        </p:nvSpPr>
        <p:spPr>
          <a:xfrm>
            <a:off x="-10750" y="-662296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914400" rtl="0" eaLnBrk="1" latinLnBrk="0" hangingPunct="1"/>
            <a:r>
              <a:rPr lang="en-US" sz="2400" b="0" kern="1200" spc="50" baseline="0">
                <a:solidFill>
                  <a:schemeClr val="accent2"/>
                </a:solidFill>
                <a:latin typeface="+mj-lt"/>
                <a:ea typeface="+mn-ea"/>
                <a:cs typeface="Calibri" panose="020F0502020204030204" pitchFamily="34" charset="0"/>
              </a:rPr>
              <a:t>Title 2 lines + </a:t>
            </a:r>
            <a:r>
              <a:rPr lang="en-US" sz="2400" b="0" kern="1200" spc="50" baseline="0">
                <a:solidFill>
                  <a:schemeClr val="accent2"/>
                </a:solidFill>
                <a:latin typeface="+mn-lt"/>
                <a:ea typeface="+mn-ea"/>
                <a:cs typeface="Calibri" panose="020F0502020204030204" pitchFamily="34" charset="0"/>
              </a:rPr>
              <a:t>fixed image #3</a:t>
            </a:r>
            <a:endParaRPr lang="en-US" sz="2400" b="0" kern="1200" spc="50" baseline="0">
              <a:solidFill>
                <a:schemeClr val="accent2"/>
              </a:solidFill>
              <a:latin typeface="+mj-lt"/>
              <a:ea typeface="+mn-ea"/>
              <a:cs typeface="Calibri" panose="020F0502020204030204" pitchFamily="34" charset="0"/>
            </a:endParaRPr>
          </a:p>
        </p:txBody>
      </p:sp>
      <p:sp>
        <p:nvSpPr>
          <p:cNvPr id="22" name="Tijdelijke aanduiding voor tekst 21">
            <a:extLst>
              <a:ext uri="{FF2B5EF4-FFF2-40B4-BE49-F238E27FC236}">
                <a16:creationId xmlns:a16="http://schemas.microsoft.com/office/drawing/2014/main" id="{002D0498-94A0-40FD-B973-91622C2A79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11114" y="-1"/>
            <a:ext cx="7289277" cy="4827069"/>
          </a:xfrm>
          <a:custGeom>
            <a:avLst/>
            <a:gdLst>
              <a:gd name="connsiteX0" fmla="*/ 0 w 7289277"/>
              <a:gd name="connsiteY0" fmla="*/ 0 h 4827069"/>
              <a:gd name="connsiteX1" fmla="*/ 6313176 w 7289277"/>
              <a:gd name="connsiteY1" fmla="*/ 0 h 4827069"/>
              <a:gd name="connsiteX2" fmla="*/ 6420957 w 7289277"/>
              <a:gd name="connsiteY2" fmla="*/ 202272 h 4827069"/>
              <a:gd name="connsiteX3" fmla="*/ 7221911 w 7289277"/>
              <a:gd name="connsiteY3" fmla="*/ 2391463 h 4827069"/>
              <a:gd name="connsiteX4" fmla="*/ 7283962 w 7289277"/>
              <a:gd name="connsiteY4" fmla="*/ 2668064 h 4827069"/>
              <a:gd name="connsiteX5" fmla="*/ 7123985 w 7289277"/>
              <a:gd name="connsiteY5" fmla="*/ 2926435 h 4827069"/>
              <a:gd name="connsiteX6" fmla="*/ 6852583 w 7289277"/>
              <a:gd name="connsiteY6" fmla="*/ 2993100 h 4827069"/>
              <a:gd name="connsiteX7" fmla="*/ 0 w 7289277"/>
              <a:gd name="connsiteY7" fmla="*/ 4827069 h 48270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89277" h="4827069">
                <a:moveTo>
                  <a:pt x="0" y="0"/>
                </a:moveTo>
                <a:lnTo>
                  <a:pt x="6313176" y="0"/>
                </a:lnTo>
                <a:lnTo>
                  <a:pt x="6420957" y="202272"/>
                </a:lnTo>
                <a:cubicBezTo>
                  <a:pt x="6790939" y="925501"/>
                  <a:pt x="7057384" y="1656342"/>
                  <a:pt x="7221911" y="2391463"/>
                </a:cubicBezTo>
                <a:lnTo>
                  <a:pt x="7283962" y="2668064"/>
                </a:lnTo>
                <a:cubicBezTo>
                  <a:pt x="7309846" y="2783440"/>
                  <a:pt x="7238751" y="2898232"/>
                  <a:pt x="7123985" y="2926435"/>
                </a:cubicBezTo>
                <a:lnTo>
                  <a:pt x="6852583" y="2993100"/>
                </a:lnTo>
                <a:lnTo>
                  <a:pt x="0" y="482706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5" name="Titel 5">
            <a:extLst>
              <a:ext uri="{FF2B5EF4-FFF2-40B4-BE49-F238E27FC236}">
                <a16:creationId xmlns:a16="http://schemas.microsoft.com/office/drawing/2014/main" id="{20DBEB7A-7FB1-4F46-90EC-A1F387B9FD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9517" y="1298686"/>
            <a:ext cx="5651922" cy="1141854"/>
          </a:xfrm>
        </p:spPr>
        <p:txBody>
          <a:bodyPr/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Template for  a long title</a:t>
            </a:r>
            <a:br>
              <a:rPr lang="en-US" noProof="0"/>
            </a:br>
            <a:r>
              <a:rPr lang="en-US" noProof="0"/>
              <a:t>over two lines</a:t>
            </a:r>
            <a:endParaRPr lang="en-US"/>
          </a:p>
        </p:txBody>
      </p:sp>
      <p:sp>
        <p:nvSpPr>
          <p:cNvPr id="77" name="Tijdelijke aanduiding voor tekst 19">
            <a:extLst>
              <a:ext uri="{FF2B5EF4-FFF2-40B4-BE49-F238E27FC236}">
                <a16:creationId xmlns:a16="http://schemas.microsoft.com/office/drawing/2014/main" id="{3C679BF6-C6F0-4DA8-9300-B2D0B37F8B8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1339" y="899558"/>
            <a:ext cx="1369048" cy="122301"/>
          </a:xfrm>
          <a:prstGeom prst="rect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10141" b="7644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9" name="Tijdelijke aanduiding voor dianummer 4">
            <a:extLst>
              <a:ext uri="{FF2B5EF4-FFF2-40B4-BE49-F238E27FC236}">
                <a16:creationId xmlns:a16="http://schemas.microsoft.com/office/drawing/2014/main" id="{04FBD8C2-773E-433F-9CFF-8DA4191BC1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680" y="6274117"/>
            <a:ext cx="44204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80" name="Tijdelijke aanduiding voor verticale tekst 2">
            <a:extLst>
              <a:ext uri="{FF2B5EF4-FFF2-40B4-BE49-F238E27FC236}">
                <a16:creationId xmlns:a16="http://schemas.microsoft.com/office/drawing/2014/main" id="{2C010E1F-388C-442E-AA8D-242FE9E7504D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899788" y="2612274"/>
            <a:ext cx="5661651" cy="267480"/>
          </a:xfrm>
        </p:spPr>
        <p:txBody>
          <a:bodyPr vert="horz" lIns="0" tIns="0" rIns="0" bIns="0"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  <a:lvl2pPr marL="217488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 algn="l"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Name | function</a:t>
            </a:r>
          </a:p>
        </p:txBody>
      </p:sp>
      <p:sp>
        <p:nvSpPr>
          <p:cNvPr id="81" name="Tijdelijke aanduiding voor verticale tekst 2">
            <a:extLst>
              <a:ext uri="{FF2B5EF4-FFF2-40B4-BE49-F238E27FC236}">
                <a16:creationId xmlns:a16="http://schemas.microsoft.com/office/drawing/2014/main" id="{C9D54F36-AE63-4F00-9327-CE8E60D07CBF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899788" y="3038892"/>
            <a:ext cx="1694000" cy="183397"/>
          </a:xfrm>
        </p:spPr>
        <p:txBody>
          <a:bodyPr vert="horz" lIns="0" tIns="0" rIns="0" bIns="0" anchor="ctr"/>
          <a:lstStyle>
            <a:lvl1pPr marL="0" indent="0">
              <a:buNone/>
              <a:defRPr sz="1100">
                <a:solidFill>
                  <a:schemeClr val="accent2"/>
                </a:solidFill>
              </a:defRPr>
            </a:lvl1pPr>
            <a:lvl2pPr marL="217488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Location</a:t>
            </a:r>
          </a:p>
        </p:txBody>
      </p:sp>
      <p:sp>
        <p:nvSpPr>
          <p:cNvPr id="82" name="Tijdelijke aanduiding voor verticale tekst 2">
            <a:extLst>
              <a:ext uri="{FF2B5EF4-FFF2-40B4-BE49-F238E27FC236}">
                <a16:creationId xmlns:a16="http://schemas.microsoft.com/office/drawing/2014/main" id="{38A0CCA9-60C5-4DD0-9264-CECACC8C2409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99788" y="3233486"/>
            <a:ext cx="1694000" cy="183397"/>
          </a:xfrm>
        </p:spPr>
        <p:txBody>
          <a:bodyPr vert="horz" lIns="0" tIns="0" rIns="0" bIns="0" anchor="ctr"/>
          <a:lstStyle>
            <a:lvl1pPr marL="0" marR="0" indent="0" algn="l" defTabSz="71913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  <a:tabLst/>
              <a:defRPr sz="1100">
                <a:solidFill>
                  <a:schemeClr val="accent2"/>
                </a:solidFill>
              </a:defRPr>
            </a:lvl1pPr>
            <a:lvl2pPr marL="217488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marL="0" marR="0" lvl="0" indent="0" algn="l" defTabSz="71913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  <a:tabLst/>
              <a:defRPr/>
            </a:pPr>
            <a:r>
              <a:rPr lang="en-US" noProof="0"/>
              <a:t>Date</a:t>
            </a:r>
          </a:p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519454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A220898-8A3B-49E6-904C-F92187E640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23675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A220898-8A3B-49E6-904C-F92187E640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0FE6D3A7-8ED9-4941-8BF3-2AA83DCE919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>
              <a:latin typeface="Source Sans Pro" panose="020B0503030403020204" pitchFamily="34" charset="0"/>
              <a:ea typeface="+mj-ea"/>
              <a:cs typeface="+mj-cs"/>
              <a:sym typeface="Source Sans Pro" panose="020B0503030403020204" pitchFamily="34" charset="0"/>
            </a:endParaRPr>
          </a:p>
        </p:txBody>
      </p:sp>
      <p:sp>
        <p:nvSpPr>
          <p:cNvPr id="52" name="Tijdelijke aanduiding voor afbeelding 8">
            <a:extLst>
              <a:ext uri="{FF2B5EF4-FFF2-40B4-BE49-F238E27FC236}">
                <a16:creationId xmlns:a16="http://schemas.microsoft.com/office/drawing/2014/main" id="{A8AB96D0-8848-45C3-915C-A276917B390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5375" y="1434"/>
            <a:ext cx="12202750" cy="685656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he icon below </a:t>
            </a:r>
            <a:br>
              <a:rPr lang="en-US"/>
            </a:br>
            <a:r>
              <a:rPr lang="en-US"/>
              <a:t>to add an image.</a:t>
            </a:r>
            <a:br>
              <a:rPr lang="en-US"/>
            </a:br>
            <a:br>
              <a:rPr lang="en-US"/>
            </a:br>
            <a:r>
              <a:rPr lang="en-US"/>
              <a:t>Need additional help?</a:t>
            </a:r>
            <a:br>
              <a:rPr lang="en-US"/>
            </a:br>
            <a:r>
              <a:rPr lang="en-US"/>
              <a:t>To the side of the slides we’ve placed extra</a:t>
            </a:r>
            <a:br>
              <a:rPr lang="en-US"/>
            </a:br>
            <a:r>
              <a:rPr lang="en-US"/>
              <a:t> instructions how to process content. </a:t>
            </a:r>
          </a:p>
        </p:txBody>
      </p:sp>
      <p:sp>
        <p:nvSpPr>
          <p:cNvPr id="7" name="Tekstvak 6"/>
          <p:cNvSpPr txBox="1"/>
          <p:nvPr userDrawn="1"/>
        </p:nvSpPr>
        <p:spPr>
          <a:xfrm>
            <a:off x="-10750" y="-662296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914400" rtl="0" eaLnBrk="1" latinLnBrk="0" hangingPunct="1"/>
            <a:r>
              <a:rPr lang="en-US" sz="2400" b="0" kern="1200" spc="50" baseline="0">
                <a:solidFill>
                  <a:schemeClr val="accent2"/>
                </a:solidFill>
                <a:latin typeface="+mj-lt"/>
                <a:ea typeface="+mn-ea"/>
                <a:cs typeface="Calibri" panose="020F0502020204030204" pitchFamily="34" charset="0"/>
              </a:rPr>
              <a:t>Title 2 lines</a:t>
            </a:r>
          </a:p>
        </p:txBody>
      </p:sp>
      <p:sp>
        <p:nvSpPr>
          <p:cNvPr id="22" name="Tijdelijke aanduiding voor tekst 21">
            <a:extLst>
              <a:ext uri="{FF2B5EF4-FFF2-40B4-BE49-F238E27FC236}">
                <a16:creationId xmlns:a16="http://schemas.microsoft.com/office/drawing/2014/main" id="{002D0498-94A0-40FD-B973-91622C2A79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11114" y="-1"/>
            <a:ext cx="7289277" cy="4827069"/>
          </a:xfrm>
          <a:custGeom>
            <a:avLst/>
            <a:gdLst>
              <a:gd name="connsiteX0" fmla="*/ 0 w 7289277"/>
              <a:gd name="connsiteY0" fmla="*/ 0 h 4827069"/>
              <a:gd name="connsiteX1" fmla="*/ 6313176 w 7289277"/>
              <a:gd name="connsiteY1" fmla="*/ 0 h 4827069"/>
              <a:gd name="connsiteX2" fmla="*/ 6420957 w 7289277"/>
              <a:gd name="connsiteY2" fmla="*/ 202272 h 4827069"/>
              <a:gd name="connsiteX3" fmla="*/ 7221911 w 7289277"/>
              <a:gd name="connsiteY3" fmla="*/ 2391463 h 4827069"/>
              <a:gd name="connsiteX4" fmla="*/ 7283962 w 7289277"/>
              <a:gd name="connsiteY4" fmla="*/ 2668064 h 4827069"/>
              <a:gd name="connsiteX5" fmla="*/ 7123985 w 7289277"/>
              <a:gd name="connsiteY5" fmla="*/ 2926435 h 4827069"/>
              <a:gd name="connsiteX6" fmla="*/ 6852583 w 7289277"/>
              <a:gd name="connsiteY6" fmla="*/ 2993100 h 4827069"/>
              <a:gd name="connsiteX7" fmla="*/ 0 w 7289277"/>
              <a:gd name="connsiteY7" fmla="*/ 4827069 h 48270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89277" h="4827069">
                <a:moveTo>
                  <a:pt x="0" y="0"/>
                </a:moveTo>
                <a:lnTo>
                  <a:pt x="6313176" y="0"/>
                </a:lnTo>
                <a:lnTo>
                  <a:pt x="6420957" y="202272"/>
                </a:lnTo>
                <a:cubicBezTo>
                  <a:pt x="6790939" y="925501"/>
                  <a:pt x="7057384" y="1656342"/>
                  <a:pt x="7221911" y="2391463"/>
                </a:cubicBezTo>
                <a:lnTo>
                  <a:pt x="7283962" y="2668064"/>
                </a:lnTo>
                <a:cubicBezTo>
                  <a:pt x="7309846" y="2783440"/>
                  <a:pt x="7238751" y="2898232"/>
                  <a:pt x="7123985" y="2926435"/>
                </a:cubicBezTo>
                <a:lnTo>
                  <a:pt x="6852583" y="2993100"/>
                </a:lnTo>
                <a:lnTo>
                  <a:pt x="0" y="482706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5" name="Titel 5">
            <a:extLst>
              <a:ext uri="{FF2B5EF4-FFF2-40B4-BE49-F238E27FC236}">
                <a16:creationId xmlns:a16="http://schemas.microsoft.com/office/drawing/2014/main" id="{20DBEB7A-7FB1-4F46-90EC-A1F387B9FD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9517" y="1298686"/>
            <a:ext cx="5651922" cy="1141854"/>
          </a:xfrm>
        </p:spPr>
        <p:txBody>
          <a:bodyPr/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Template for  a long title</a:t>
            </a:r>
            <a:br>
              <a:rPr lang="en-US" noProof="0"/>
            </a:br>
            <a:r>
              <a:rPr lang="en-US" noProof="0"/>
              <a:t>over two lines</a:t>
            </a:r>
            <a:endParaRPr lang="en-US"/>
          </a:p>
        </p:txBody>
      </p:sp>
      <p:sp>
        <p:nvSpPr>
          <p:cNvPr id="77" name="Tijdelijke aanduiding voor tekst 19">
            <a:extLst>
              <a:ext uri="{FF2B5EF4-FFF2-40B4-BE49-F238E27FC236}">
                <a16:creationId xmlns:a16="http://schemas.microsoft.com/office/drawing/2014/main" id="{3C679BF6-C6F0-4DA8-9300-B2D0B37F8B8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1339" y="899558"/>
            <a:ext cx="1369048" cy="122301"/>
          </a:xfrm>
          <a:prstGeom prst="rect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10141" b="7644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ijdelijke aanduiding voor dianummer 4">
            <a:extLst>
              <a:ext uri="{FF2B5EF4-FFF2-40B4-BE49-F238E27FC236}">
                <a16:creationId xmlns:a16="http://schemas.microsoft.com/office/drawing/2014/main" id="{A7DBEB39-C7DB-4B04-84EB-6AA1EF2323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680" y="6274117"/>
            <a:ext cx="44204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79" name="Tijdelijke aanduiding voor verticale tekst 2">
            <a:extLst>
              <a:ext uri="{FF2B5EF4-FFF2-40B4-BE49-F238E27FC236}">
                <a16:creationId xmlns:a16="http://schemas.microsoft.com/office/drawing/2014/main" id="{2129D697-47AF-4A73-BAC8-549F8C8E7A58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899788" y="2612274"/>
            <a:ext cx="5661651" cy="267480"/>
          </a:xfrm>
        </p:spPr>
        <p:txBody>
          <a:bodyPr vert="horz" lIns="0" tIns="0" rIns="0" bIns="0"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  <a:lvl2pPr marL="217488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 algn="l"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Name | function</a:t>
            </a:r>
          </a:p>
        </p:txBody>
      </p:sp>
      <p:sp>
        <p:nvSpPr>
          <p:cNvPr id="80" name="Tijdelijke aanduiding voor verticale tekst 2">
            <a:extLst>
              <a:ext uri="{FF2B5EF4-FFF2-40B4-BE49-F238E27FC236}">
                <a16:creationId xmlns:a16="http://schemas.microsoft.com/office/drawing/2014/main" id="{18F66C33-0007-4F28-A550-18800A5326D7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899788" y="3038892"/>
            <a:ext cx="1694000" cy="183397"/>
          </a:xfrm>
        </p:spPr>
        <p:txBody>
          <a:bodyPr vert="horz" lIns="0" tIns="0" rIns="0" bIns="0" anchor="ctr"/>
          <a:lstStyle>
            <a:lvl1pPr marL="0" indent="0">
              <a:buNone/>
              <a:defRPr sz="1100">
                <a:solidFill>
                  <a:schemeClr val="accent2"/>
                </a:solidFill>
              </a:defRPr>
            </a:lvl1pPr>
            <a:lvl2pPr marL="217488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Location</a:t>
            </a:r>
          </a:p>
        </p:txBody>
      </p:sp>
      <p:sp>
        <p:nvSpPr>
          <p:cNvPr id="81" name="Tijdelijke aanduiding voor verticale tekst 2">
            <a:extLst>
              <a:ext uri="{FF2B5EF4-FFF2-40B4-BE49-F238E27FC236}">
                <a16:creationId xmlns:a16="http://schemas.microsoft.com/office/drawing/2014/main" id="{079AEA8F-F016-4C94-A1A3-CEE037C65684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99788" y="3233486"/>
            <a:ext cx="1694000" cy="183397"/>
          </a:xfrm>
        </p:spPr>
        <p:txBody>
          <a:bodyPr vert="horz" lIns="0" tIns="0" rIns="0" bIns="0" anchor="ctr"/>
          <a:lstStyle>
            <a:lvl1pPr marL="0" marR="0" indent="0" algn="l" defTabSz="71913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  <a:tabLst/>
              <a:defRPr sz="1100">
                <a:solidFill>
                  <a:schemeClr val="accent2"/>
                </a:solidFill>
              </a:defRPr>
            </a:lvl1pPr>
            <a:lvl2pPr marL="217488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marL="0" marR="0" lvl="0" indent="0" algn="l" defTabSz="71913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  <a:tabLst/>
              <a:defRPr/>
            </a:pPr>
            <a:r>
              <a:rPr lang="en-US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022854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 lines + fixed imag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7AFA1B8-FAE0-4606-BDB7-0440CD76C7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729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87AFA1B8-FAE0-4606-BDB7-0440CD76C7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AB36F1AA-7AA9-40C0-ACB3-C77B7F1C01B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>
              <a:latin typeface="Source Sans Pro" panose="020B0503030403020204" pitchFamily="34" charset="0"/>
              <a:ea typeface="+mj-ea"/>
              <a:cs typeface="+mj-cs"/>
              <a:sym typeface="Source Sans Pro" panose="020B0503030403020204" pitchFamily="34" charset="0"/>
            </a:endParaRPr>
          </a:p>
        </p:txBody>
      </p:sp>
      <p:pic>
        <p:nvPicPr>
          <p:cNvPr id="78" name="Tijdelijke aanduiding voor afbeelding 19">
            <a:extLst>
              <a:ext uri="{FF2B5EF4-FFF2-40B4-BE49-F238E27FC236}">
                <a16:creationId xmlns:a16="http://schemas.microsoft.com/office/drawing/2014/main" id="{9610D9E9-4EFF-46EF-B2A8-1EBD27B9716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5375" y="1434"/>
            <a:ext cx="12202750" cy="6856566"/>
          </a:xfrm>
          <a:prstGeom prst="rect">
            <a:avLst/>
          </a:prstGeom>
        </p:spPr>
      </p:pic>
      <p:sp>
        <p:nvSpPr>
          <p:cNvPr id="7" name="Tekstvak 6"/>
          <p:cNvSpPr txBox="1"/>
          <p:nvPr userDrawn="1"/>
        </p:nvSpPr>
        <p:spPr>
          <a:xfrm>
            <a:off x="-10750" y="-662296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914400" rtl="0" eaLnBrk="1" latinLnBrk="0" hangingPunct="1"/>
            <a:r>
              <a:rPr lang="en-US" sz="2400" b="0" kern="1200" spc="50" baseline="0">
                <a:solidFill>
                  <a:schemeClr val="accent2"/>
                </a:solidFill>
                <a:latin typeface="+mj-lt"/>
                <a:ea typeface="+mn-ea"/>
                <a:cs typeface="Calibri" panose="020F0502020204030204" pitchFamily="34" charset="0"/>
              </a:rPr>
              <a:t>Title 3 lines + </a:t>
            </a:r>
            <a:r>
              <a:rPr lang="en-US" sz="2400" b="0" kern="1200" spc="50" baseline="0">
                <a:solidFill>
                  <a:schemeClr val="accent2"/>
                </a:solidFill>
                <a:latin typeface="+mn-lt"/>
                <a:ea typeface="+mn-ea"/>
                <a:cs typeface="Calibri" panose="020F0502020204030204" pitchFamily="34" charset="0"/>
              </a:rPr>
              <a:t>fixed image #1</a:t>
            </a:r>
            <a:endParaRPr lang="en-US" sz="2400" b="0" kern="1200" spc="50" baseline="0">
              <a:solidFill>
                <a:schemeClr val="accent2"/>
              </a:solidFill>
              <a:latin typeface="+mj-lt"/>
              <a:ea typeface="+mn-ea"/>
              <a:cs typeface="Calibri" panose="020F0502020204030204" pitchFamily="34" charset="0"/>
            </a:endParaRPr>
          </a:p>
        </p:txBody>
      </p:sp>
      <p:sp>
        <p:nvSpPr>
          <p:cNvPr id="21" name="Tijdelijke aanduiding voor tekst 20">
            <a:extLst>
              <a:ext uri="{FF2B5EF4-FFF2-40B4-BE49-F238E27FC236}">
                <a16:creationId xmlns:a16="http://schemas.microsoft.com/office/drawing/2014/main" id="{C7B47E14-EE28-4D74-9432-3201CB7BB0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11114" y="-1"/>
            <a:ext cx="7289277" cy="5387330"/>
          </a:xfrm>
          <a:custGeom>
            <a:avLst/>
            <a:gdLst>
              <a:gd name="connsiteX0" fmla="*/ 0 w 7289277"/>
              <a:gd name="connsiteY0" fmla="*/ 0 h 5387330"/>
              <a:gd name="connsiteX1" fmla="*/ 6049627 w 7289277"/>
              <a:gd name="connsiteY1" fmla="*/ 0 h 5387330"/>
              <a:gd name="connsiteX2" fmla="*/ 6203156 w 7289277"/>
              <a:gd name="connsiteY2" fmla="*/ 266658 h 5387330"/>
              <a:gd name="connsiteX3" fmla="*/ 7228436 w 7289277"/>
              <a:gd name="connsiteY3" fmla="*/ 2919047 h 5387330"/>
              <a:gd name="connsiteX4" fmla="*/ 7289277 w 7289277"/>
              <a:gd name="connsiteY4" fmla="*/ 3190251 h 5387330"/>
              <a:gd name="connsiteX5" fmla="*/ 7289277 w 7289277"/>
              <a:gd name="connsiteY5" fmla="*/ 3321889 h 5387330"/>
              <a:gd name="connsiteX6" fmla="*/ 7265384 w 7289277"/>
              <a:gd name="connsiteY6" fmla="*/ 3384498 h 5387330"/>
              <a:gd name="connsiteX7" fmla="*/ 7124486 w 7289277"/>
              <a:gd name="connsiteY7" fmla="*/ 3486931 h 5387330"/>
              <a:gd name="connsiteX8" fmla="*/ 6836387 w 7289277"/>
              <a:gd name="connsiteY8" fmla="*/ 3557697 h 5387330"/>
              <a:gd name="connsiteX9" fmla="*/ 0 w 7289277"/>
              <a:gd name="connsiteY9" fmla="*/ 5387330 h 5387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289277" h="5387330">
                <a:moveTo>
                  <a:pt x="0" y="0"/>
                </a:moveTo>
                <a:lnTo>
                  <a:pt x="6049627" y="0"/>
                </a:lnTo>
                <a:lnTo>
                  <a:pt x="6203156" y="266658"/>
                </a:lnTo>
                <a:cubicBezTo>
                  <a:pt x="6687932" y="1141334"/>
                  <a:pt x="7028838" y="2027223"/>
                  <a:pt x="7228436" y="2919047"/>
                </a:cubicBezTo>
                <a:lnTo>
                  <a:pt x="7289277" y="3190251"/>
                </a:lnTo>
                <a:lnTo>
                  <a:pt x="7289277" y="3321889"/>
                </a:lnTo>
                <a:lnTo>
                  <a:pt x="7265384" y="3384498"/>
                </a:lnTo>
                <a:cubicBezTo>
                  <a:pt x="7234723" y="3434013"/>
                  <a:pt x="7185399" y="3471961"/>
                  <a:pt x="7124486" y="3486931"/>
                </a:cubicBezTo>
                <a:lnTo>
                  <a:pt x="6836387" y="3557697"/>
                </a:lnTo>
                <a:lnTo>
                  <a:pt x="0" y="538733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5" name="Titel 5">
            <a:extLst>
              <a:ext uri="{FF2B5EF4-FFF2-40B4-BE49-F238E27FC236}">
                <a16:creationId xmlns:a16="http://schemas.microsoft.com/office/drawing/2014/main" id="{20DBEB7A-7FB1-4F46-90EC-A1F387B9FD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9517" y="1298686"/>
            <a:ext cx="5651922" cy="1715496"/>
          </a:xfrm>
        </p:spPr>
        <p:txBody>
          <a:bodyPr/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Template for  a long title</a:t>
            </a:r>
            <a:br>
              <a:rPr lang="en-US" noProof="0"/>
            </a:br>
            <a:r>
              <a:rPr lang="en-US" noProof="0"/>
              <a:t>over a maximum of </a:t>
            </a:r>
            <a:br>
              <a:rPr lang="en-US" noProof="0"/>
            </a:br>
            <a:r>
              <a:rPr lang="en-US" noProof="0"/>
              <a:t>three lines</a:t>
            </a:r>
            <a:endParaRPr lang="en-US"/>
          </a:p>
        </p:txBody>
      </p:sp>
      <p:sp>
        <p:nvSpPr>
          <p:cNvPr id="77" name="Tijdelijke aanduiding voor tekst 19">
            <a:extLst>
              <a:ext uri="{FF2B5EF4-FFF2-40B4-BE49-F238E27FC236}">
                <a16:creationId xmlns:a16="http://schemas.microsoft.com/office/drawing/2014/main" id="{D2143D6B-C64D-43A2-A51B-B1C2C57B18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1339" y="899558"/>
            <a:ext cx="1369048" cy="122301"/>
          </a:xfrm>
          <a:prstGeom prst="rect">
            <a:avLst/>
          </a:prstGeo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10141" b="7644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9" name="Tijdelijke aanduiding voor dianummer 4">
            <a:extLst>
              <a:ext uri="{FF2B5EF4-FFF2-40B4-BE49-F238E27FC236}">
                <a16:creationId xmlns:a16="http://schemas.microsoft.com/office/drawing/2014/main" id="{664D752E-5E17-41C7-9FCE-81D02456C4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680" y="6274117"/>
            <a:ext cx="44204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80" name="Tijdelijke aanduiding voor verticale tekst 2">
            <a:extLst>
              <a:ext uri="{FF2B5EF4-FFF2-40B4-BE49-F238E27FC236}">
                <a16:creationId xmlns:a16="http://schemas.microsoft.com/office/drawing/2014/main" id="{3BA9F0F5-E032-48FB-BC7C-E4AC7E705651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899788" y="3173320"/>
            <a:ext cx="5661651" cy="267480"/>
          </a:xfrm>
        </p:spPr>
        <p:txBody>
          <a:bodyPr vert="horz" lIns="0" tIns="0" rIns="0" bIns="0"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  <a:lvl2pPr marL="217488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 algn="l"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Name | function</a:t>
            </a:r>
          </a:p>
        </p:txBody>
      </p:sp>
      <p:sp>
        <p:nvSpPr>
          <p:cNvPr id="81" name="Tijdelijke aanduiding voor verticale tekst 2">
            <a:extLst>
              <a:ext uri="{FF2B5EF4-FFF2-40B4-BE49-F238E27FC236}">
                <a16:creationId xmlns:a16="http://schemas.microsoft.com/office/drawing/2014/main" id="{9B8C7582-8AF9-4053-A112-EF4D148DC4FD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899788" y="3599938"/>
            <a:ext cx="1694000" cy="183397"/>
          </a:xfrm>
        </p:spPr>
        <p:txBody>
          <a:bodyPr vert="horz" lIns="0" tIns="0" rIns="0" bIns="0" anchor="ctr"/>
          <a:lstStyle>
            <a:lvl1pPr marL="0" indent="0">
              <a:buNone/>
              <a:defRPr sz="1100">
                <a:solidFill>
                  <a:schemeClr val="accent2"/>
                </a:solidFill>
              </a:defRPr>
            </a:lvl1pPr>
            <a:lvl2pPr marL="217488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Location</a:t>
            </a:r>
          </a:p>
        </p:txBody>
      </p:sp>
      <p:sp>
        <p:nvSpPr>
          <p:cNvPr id="82" name="Tijdelijke aanduiding voor verticale tekst 2">
            <a:extLst>
              <a:ext uri="{FF2B5EF4-FFF2-40B4-BE49-F238E27FC236}">
                <a16:creationId xmlns:a16="http://schemas.microsoft.com/office/drawing/2014/main" id="{9BA97DF8-DCAA-4894-A30F-C3B46812E4EA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99788" y="3794532"/>
            <a:ext cx="1694000" cy="183397"/>
          </a:xfrm>
        </p:spPr>
        <p:txBody>
          <a:bodyPr vert="horz" lIns="0" tIns="0" rIns="0" bIns="0" anchor="ctr"/>
          <a:lstStyle>
            <a:lvl1pPr marL="0" indent="0">
              <a:buNone/>
              <a:defRPr sz="1100">
                <a:solidFill>
                  <a:schemeClr val="accent2"/>
                </a:solidFill>
              </a:defRPr>
            </a:lvl1pPr>
            <a:lvl2pPr marL="217488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506955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 lines + fixed imag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6A917DC-AE8E-4B20-A662-E90099710B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1515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16A917DC-AE8E-4B20-A662-E90099710B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77717E50-CC98-4634-BE23-4D2B07BFF1A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>
              <a:latin typeface="Source Sans Pro" panose="020B0503030403020204" pitchFamily="34" charset="0"/>
              <a:ea typeface="+mj-ea"/>
              <a:cs typeface="+mj-cs"/>
              <a:sym typeface="Source Sans Pro" panose="020B0503030403020204" pitchFamily="34" charset="0"/>
            </a:endParaRPr>
          </a:p>
        </p:txBody>
      </p:sp>
      <p:pic>
        <p:nvPicPr>
          <p:cNvPr id="78" name="Tijdelijke aanduiding voor afbeelding 19">
            <a:extLst>
              <a:ext uri="{FF2B5EF4-FFF2-40B4-BE49-F238E27FC236}">
                <a16:creationId xmlns:a16="http://schemas.microsoft.com/office/drawing/2014/main" id="{9610D9E9-4EFF-46EF-B2A8-1EBD27B9716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821" y="1434"/>
            <a:ext cx="12201641" cy="6856566"/>
          </a:xfrm>
          <a:prstGeom prst="rect">
            <a:avLst/>
          </a:prstGeom>
        </p:spPr>
      </p:pic>
      <p:sp>
        <p:nvSpPr>
          <p:cNvPr id="7" name="Tekstvak 6"/>
          <p:cNvSpPr txBox="1"/>
          <p:nvPr userDrawn="1"/>
        </p:nvSpPr>
        <p:spPr>
          <a:xfrm>
            <a:off x="-10750" y="-662296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914400" rtl="0" eaLnBrk="1" latinLnBrk="0" hangingPunct="1"/>
            <a:r>
              <a:rPr lang="en-US" sz="2400" b="0" kern="1200" spc="50" baseline="0">
                <a:solidFill>
                  <a:schemeClr val="accent2"/>
                </a:solidFill>
                <a:latin typeface="+mj-lt"/>
                <a:ea typeface="+mn-ea"/>
                <a:cs typeface="Calibri" panose="020F0502020204030204" pitchFamily="34" charset="0"/>
              </a:rPr>
              <a:t>Title 3 lines + </a:t>
            </a:r>
            <a:r>
              <a:rPr lang="en-US" sz="2400" b="0" kern="1200" spc="50" baseline="0">
                <a:solidFill>
                  <a:schemeClr val="accent2"/>
                </a:solidFill>
                <a:latin typeface="+mn-lt"/>
                <a:ea typeface="+mn-ea"/>
                <a:cs typeface="Calibri" panose="020F0502020204030204" pitchFamily="34" charset="0"/>
              </a:rPr>
              <a:t>fixed image #2</a:t>
            </a:r>
            <a:endParaRPr lang="en-US" sz="2400" b="0" kern="1200" spc="50" baseline="0">
              <a:solidFill>
                <a:schemeClr val="accent2"/>
              </a:solidFill>
              <a:latin typeface="+mj-lt"/>
              <a:ea typeface="+mn-ea"/>
              <a:cs typeface="Calibri" panose="020F0502020204030204" pitchFamily="34" charset="0"/>
            </a:endParaRPr>
          </a:p>
        </p:txBody>
      </p:sp>
      <p:sp>
        <p:nvSpPr>
          <p:cNvPr id="21" name="Tijdelijke aanduiding voor tekst 20">
            <a:extLst>
              <a:ext uri="{FF2B5EF4-FFF2-40B4-BE49-F238E27FC236}">
                <a16:creationId xmlns:a16="http://schemas.microsoft.com/office/drawing/2014/main" id="{C7B47E14-EE28-4D74-9432-3201CB7BB0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11114" y="-1"/>
            <a:ext cx="7289277" cy="5387330"/>
          </a:xfrm>
          <a:custGeom>
            <a:avLst/>
            <a:gdLst>
              <a:gd name="connsiteX0" fmla="*/ 0 w 7289277"/>
              <a:gd name="connsiteY0" fmla="*/ 0 h 5387330"/>
              <a:gd name="connsiteX1" fmla="*/ 6049627 w 7289277"/>
              <a:gd name="connsiteY1" fmla="*/ 0 h 5387330"/>
              <a:gd name="connsiteX2" fmla="*/ 6203156 w 7289277"/>
              <a:gd name="connsiteY2" fmla="*/ 266658 h 5387330"/>
              <a:gd name="connsiteX3" fmla="*/ 7228436 w 7289277"/>
              <a:gd name="connsiteY3" fmla="*/ 2919047 h 5387330"/>
              <a:gd name="connsiteX4" fmla="*/ 7289277 w 7289277"/>
              <a:gd name="connsiteY4" fmla="*/ 3190251 h 5387330"/>
              <a:gd name="connsiteX5" fmla="*/ 7289277 w 7289277"/>
              <a:gd name="connsiteY5" fmla="*/ 3321889 h 5387330"/>
              <a:gd name="connsiteX6" fmla="*/ 7265384 w 7289277"/>
              <a:gd name="connsiteY6" fmla="*/ 3384498 h 5387330"/>
              <a:gd name="connsiteX7" fmla="*/ 7124486 w 7289277"/>
              <a:gd name="connsiteY7" fmla="*/ 3486931 h 5387330"/>
              <a:gd name="connsiteX8" fmla="*/ 6836387 w 7289277"/>
              <a:gd name="connsiteY8" fmla="*/ 3557697 h 5387330"/>
              <a:gd name="connsiteX9" fmla="*/ 0 w 7289277"/>
              <a:gd name="connsiteY9" fmla="*/ 5387330 h 5387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289277" h="5387330">
                <a:moveTo>
                  <a:pt x="0" y="0"/>
                </a:moveTo>
                <a:lnTo>
                  <a:pt x="6049627" y="0"/>
                </a:lnTo>
                <a:lnTo>
                  <a:pt x="6203156" y="266658"/>
                </a:lnTo>
                <a:cubicBezTo>
                  <a:pt x="6687932" y="1141334"/>
                  <a:pt x="7028838" y="2027223"/>
                  <a:pt x="7228436" y="2919047"/>
                </a:cubicBezTo>
                <a:lnTo>
                  <a:pt x="7289277" y="3190251"/>
                </a:lnTo>
                <a:lnTo>
                  <a:pt x="7289277" y="3321889"/>
                </a:lnTo>
                <a:lnTo>
                  <a:pt x="7265384" y="3384498"/>
                </a:lnTo>
                <a:cubicBezTo>
                  <a:pt x="7234723" y="3434013"/>
                  <a:pt x="7185399" y="3471961"/>
                  <a:pt x="7124486" y="3486931"/>
                </a:cubicBezTo>
                <a:lnTo>
                  <a:pt x="6836387" y="3557697"/>
                </a:lnTo>
                <a:lnTo>
                  <a:pt x="0" y="538733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5" name="Titel 5">
            <a:extLst>
              <a:ext uri="{FF2B5EF4-FFF2-40B4-BE49-F238E27FC236}">
                <a16:creationId xmlns:a16="http://schemas.microsoft.com/office/drawing/2014/main" id="{20DBEB7A-7FB1-4F46-90EC-A1F387B9FD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9517" y="1298686"/>
            <a:ext cx="5651922" cy="1715496"/>
          </a:xfrm>
        </p:spPr>
        <p:txBody>
          <a:bodyPr/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Template for  a long title</a:t>
            </a:r>
            <a:br>
              <a:rPr lang="en-US" noProof="0"/>
            </a:br>
            <a:r>
              <a:rPr lang="en-US" noProof="0"/>
              <a:t>over a maximum of </a:t>
            </a:r>
            <a:br>
              <a:rPr lang="en-US" noProof="0"/>
            </a:br>
            <a:r>
              <a:rPr lang="en-US" noProof="0"/>
              <a:t>three lines</a:t>
            </a:r>
            <a:endParaRPr lang="en-US"/>
          </a:p>
        </p:txBody>
      </p:sp>
      <p:sp>
        <p:nvSpPr>
          <p:cNvPr id="77" name="Tijdelijke aanduiding voor tekst 19">
            <a:extLst>
              <a:ext uri="{FF2B5EF4-FFF2-40B4-BE49-F238E27FC236}">
                <a16:creationId xmlns:a16="http://schemas.microsoft.com/office/drawing/2014/main" id="{D2143D6B-C64D-43A2-A51B-B1C2C57B18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1339" y="899558"/>
            <a:ext cx="1369048" cy="122301"/>
          </a:xfrm>
          <a:prstGeom prst="rect">
            <a:avLst/>
          </a:prstGeo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10141" b="7644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9" name="Tijdelijke aanduiding voor dianummer 4">
            <a:extLst>
              <a:ext uri="{FF2B5EF4-FFF2-40B4-BE49-F238E27FC236}">
                <a16:creationId xmlns:a16="http://schemas.microsoft.com/office/drawing/2014/main" id="{F10E0541-D758-418B-B2C9-D77BD681F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680" y="6274117"/>
            <a:ext cx="44204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80" name="Tijdelijke aanduiding voor verticale tekst 2">
            <a:extLst>
              <a:ext uri="{FF2B5EF4-FFF2-40B4-BE49-F238E27FC236}">
                <a16:creationId xmlns:a16="http://schemas.microsoft.com/office/drawing/2014/main" id="{62541E55-2AD5-45DE-B781-0F07AB8D5DFE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899788" y="3173320"/>
            <a:ext cx="5661651" cy="267480"/>
          </a:xfrm>
        </p:spPr>
        <p:txBody>
          <a:bodyPr vert="horz" lIns="0" tIns="0" rIns="0" bIns="0"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  <a:lvl2pPr marL="217488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 algn="l"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Name | function</a:t>
            </a:r>
          </a:p>
        </p:txBody>
      </p:sp>
      <p:sp>
        <p:nvSpPr>
          <p:cNvPr id="81" name="Tijdelijke aanduiding voor verticale tekst 2">
            <a:extLst>
              <a:ext uri="{FF2B5EF4-FFF2-40B4-BE49-F238E27FC236}">
                <a16:creationId xmlns:a16="http://schemas.microsoft.com/office/drawing/2014/main" id="{3C8AF778-CB5E-4EBE-ABCA-4846D6700BE9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899788" y="3599938"/>
            <a:ext cx="1694000" cy="183397"/>
          </a:xfrm>
        </p:spPr>
        <p:txBody>
          <a:bodyPr vert="horz" lIns="0" tIns="0" rIns="0" bIns="0" anchor="ctr"/>
          <a:lstStyle>
            <a:lvl1pPr marL="0" indent="0">
              <a:buNone/>
              <a:defRPr sz="1100">
                <a:solidFill>
                  <a:schemeClr val="accent2"/>
                </a:solidFill>
              </a:defRPr>
            </a:lvl1pPr>
            <a:lvl2pPr marL="217488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Location</a:t>
            </a:r>
          </a:p>
        </p:txBody>
      </p:sp>
      <p:sp>
        <p:nvSpPr>
          <p:cNvPr id="82" name="Tijdelijke aanduiding voor verticale tekst 2">
            <a:extLst>
              <a:ext uri="{FF2B5EF4-FFF2-40B4-BE49-F238E27FC236}">
                <a16:creationId xmlns:a16="http://schemas.microsoft.com/office/drawing/2014/main" id="{6CFCD676-64D5-4390-9E9E-CB3A1C7795CC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99788" y="3794532"/>
            <a:ext cx="1694000" cy="183397"/>
          </a:xfrm>
        </p:spPr>
        <p:txBody>
          <a:bodyPr vert="horz" lIns="0" tIns="0" rIns="0" bIns="0" anchor="ctr"/>
          <a:lstStyle>
            <a:lvl1pPr marL="0" marR="0" indent="0" algn="l" defTabSz="71913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  <a:tabLst/>
              <a:defRPr sz="1100">
                <a:solidFill>
                  <a:schemeClr val="accent2"/>
                </a:solidFill>
              </a:defRPr>
            </a:lvl1pPr>
            <a:lvl2pPr marL="217488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marL="0" marR="0" lvl="0" indent="0" algn="l" defTabSz="71913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  <a:tabLst/>
              <a:defRPr/>
            </a:pPr>
            <a:r>
              <a:rPr lang="en-US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262600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 lines + fixed imag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C4BBA0C-A474-46CA-B98D-B30A2A46A4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9768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C4BBA0C-A474-46CA-B98D-B30A2A46A4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64A23DAC-5E58-4689-AD44-5AF40A5F633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>
              <a:latin typeface="Source Sans Pro" panose="020B0503030403020204" pitchFamily="34" charset="0"/>
              <a:ea typeface="+mj-ea"/>
              <a:cs typeface="+mj-cs"/>
              <a:sym typeface="Source Sans Pro" panose="020B0503030403020204" pitchFamily="34" charset="0"/>
            </a:endParaRPr>
          </a:p>
        </p:txBody>
      </p:sp>
      <p:pic>
        <p:nvPicPr>
          <p:cNvPr id="83" name="Tijdelijke aanduiding voor afbeelding 40">
            <a:extLst>
              <a:ext uri="{FF2B5EF4-FFF2-40B4-BE49-F238E27FC236}">
                <a16:creationId xmlns:a16="http://schemas.microsoft.com/office/drawing/2014/main" id="{19B12BD7-27C9-4432-AC7B-5BD6FFFA5E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434"/>
            <a:ext cx="12197375" cy="6856566"/>
          </a:xfrm>
          <a:prstGeom prst="rect">
            <a:avLst/>
          </a:prstGeom>
        </p:spPr>
      </p:pic>
      <p:sp>
        <p:nvSpPr>
          <p:cNvPr id="7" name="Tekstvak 6"/>
          <p:cNvSpPr txBox="1"/>
          <p:nvPr userDrawn="1"/>
        </p:nvSpPr>
        <p:spPr>
          <a:xfrm>
            <a:off x="-10750" y="-662296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914400" rtl="0" eaLnBrk="1" latinLnBrk="0" hangingPunct="1"/>
            <a:r>
              <a:rPr lang="en-US" sz="2400" b="0" kern="1200" spc="50" baseline="0">
                <a:solidFill>
                  <a:schemeClr val="accent2"/>
                </a:solidFill>
                <a:latin typeface="+mj-lt"/>
                <a:ea typeface="+mn-ea"/>
                <a:cs typeface="Calibri" panose="020F0502020204030204" pitchFamily="34" charset="0"/>
              </a:rPr>
              <a:t>Title 3 lines + </a:t>
            </a:r>
            <a:r>
              <a:rPr lang="en-US" sz="2400" b="0" kern="1200" spc="50" baseline="0">
                <a:solidFill>
                  <a:schemeClr val="accent2"/>
                </a:solidFill>
                <a:latin typeface="+mn-lt"/>
                <a:ea typeface="+mn-ea"/>
                <a:cs typeface="Calibri" panose="020F0502020204030204" pitchFamily="34" charset="0"/>
              </a:rPr>
              <a:t>fixed image #3</a:t>
            </a:r>
            <a:endParaRPr lang="en-US" sz="2400" b="0" kern="1200" spc="50" baseline="0">
              <a:solidFill>
                <a:schemeClr val="accent2"/>
              </a:solidFill>
              <a:latin typeface="+mj-lt"/>
              <a:ea typeface="+mn-ea"/>
              <a:cs typeface="Calibri" panose="020F0502020204030204" pitchFamily="34" charset="0"/>
            </a:endParaRPr>
          </a:p>
        </p:txBody>
      </p:sp>
      <p:sp>
        <p:nvSpPr>
          <p:cNvPr id="21" name="Tijdelijke aanduiding voor tekst 20">
            <a:extLst>
              <a:ext uri="{FF2B5EF4-FFF2-40B4-BE49-F238E27FC236}">
                <a16:creationId xmlns:a16="http://schemas.microsoft.com/office/drawing/2014/main" id="{C7B47E14-EE28-4D74-9432-3201CB7BB0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11114" y="-1"/>
            <a:ext cx="7289277" cy="5387330"/>
          </a:xfrm>
          <a:custGeom>
            <a:avLst/>
            <a:gdLst>
              <a:gd name="connsiteX0" fmla="*/ 0 w 7289277"/>
              <a:gd name="connsiteY0" fmla="*/ 0 h 5387330"/>
              <a:gd name="connsiteX1" fmla="*/ 6049627 w 7289277"/>
              <a:gd name="connsiteY1" fmla="*/ 0 h 5387330"/>
              <a:gd name="connsiteX2" fmla="*/ 6203156 w 7289277"/>
              <a:gd name="connsiteY2" fmla="*/ 266658 h 5387330"/>
              <a:gd name="connsiteX3" fmla="*/ 7228436 w 7289277"/>
              <a:gd name="connsiteY3" fmla="*/ 2919047 h 5387330"/>
              <a:gd name="connsiteX4" fmla="*/ 7289277 w 7289277"/>
              <a:gd name="connsiteY4" fmla="*/ 3190251 h 5387330"/>
              <a:gd name="connsiteX5" fmla="*/ 7289277 w 7289277"/>
              <a:gd name="connsiteY5" fmla="*/ 3321889 h 5387330"/>
              <a:gd name="connsiteX6" fmla="*/ 7265384 w 7289277"/>
              <a:gd name="connsiteY6" fmla="*/ 3384498 h 5387330"/>
              <a:gd name="connsiteX7" fmla="*/ 7124486 w 7289277"/>
              <a:gd name="connsiteY7" fmla="*/ 3486931 h 5387330"/>
              <a:gd name="connsiteX8" fmla="*/ 6836387 w 7289277"/>
              <a:gd name="connsiteY8" fmla="*/ 3557697 h 5387330"/>
              <a:gd name="connsiteX9" fmla="*/ 0 w 7289277"/>
              <a:gd name="connsiteY9" fmla="*/ 5387330 h 5387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289277" h="5387330">
                <a:moveTo>
                  <a:pt x="0" y="0"/>
                </a:moveTo>
                <a:lnTo>
                  <a:pt x="6049627" y="0"/>
                </a:lnTo>
                <a:lnTo>
                  <a:pt x="6203156" y="266658"/>
                </a:lnTo>
                <a:cubicBezTo>
                  <a:pt x="6687932" y="1141334"/>
                  <a:pt x="7028838" y="2027223"/>
                  <a:pt x="7228436" y="2919047"/>
                </a:cubicBezTo>
                <a:lnTo>
                  <a:pt x="7289277" y="3190251"/>
                </a:lnTo>
                <a:lnTo>
                  <a:pt x="7289277" y="3321889"/>
                </a:lnTo>
                <a:lnTo>
                  <a:pt x="7265384" y="3384498"/>
                </a:lnTo>
                <a:cubicBezTo>
                  <a:pt x="7234723" y="3434013"/>
                  <a:pt x="7185399" y="3471961"/>
                  <a:pt x="7124486" y="3486931"/>
                </a:cubicBezTo>
                <a:lnTo>
                  <a:pt x="6836387" y="3557697"/>
                </a:lnTo>
                <a:lnTo>
                  <a:pt x="0" y="538733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5" name="Titel 5">
            <a:extLst>
              <a:ext uri="{FF2B5EF4-FFF2-40B4-BE49-F238E27FC236}">
                <a16:creationId xmlns:a16="http://schemas.microsoft.com/office/drawing/2014/main" id="{20DBEB7A-7FB1-4F46-90EC-A1F387B9FD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9517" y="1298686"/>
            <a:ext cx="5651922" cy="1715496"/>
          </a:xfrm>
        </p:spPr>
        <p:txBody>
          <a:bodyPr/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Template for  a long title</a:t>
            </a:r>
            <a:br>
              <a:rPr lang="en-US" noProof="0"/>
            </a:br>
            <a:r>
              <a:rPr lang="en-US" noProof="0"/>
              <a:t>over a maximum of </a:t>
            </a:r>
            <a:br>
              <a:rPr lang="en-US" noProof="0"/>
            </a:br>
            <a:r>
              <a:rPr lang="en-US" noProof="0"/>
              <a:t>three lines</a:t>
            </a:r>
            <a:endParaRPr lang="en-US"/>
          </a:p>
        </p:txBody>
      </p:sp>
      <p:sp>
        <p:nvSpPr>
          <p:cNvPr id="77" name="Tijdelijke aanduiding voor tekst 19">
            <a:extLst>
              <a:ext uri="{FF2B5EF4-FFF2-40B4-BE49-F238E27FC236}">
                <a16:creationId xmlns:a16="http://schemas.microsoft.com/office/drawing/2014/main" id="{D2143D6B-C64D-43A2-A51B-B1C2C57B18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1339" y="899558"/>
            <a:ext cx="1369048" cy="122301"/>
          </a:xfrm>
          <a:prstGeom prst="rect">
            <a:avLst/>
          </a:prstGeo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10141" b="7644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9" name="Tijdelijke aanduiding voor dianummer 4">
            <a:extLst>
              <a:ext uri="{FF2B5EF4-FFF2-40B4-BE49-F238E27FC236}">
                <a16:creationId xmlns:a16="http://schemas.microsoft.com/office/drawing/2014/main" id="{93106274-7129-41B1-A3C5-91ED6CA38C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680" y="6274117"/>
            <a:ext cx="44204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80" name="Tijdelijke aanduiding voor verticale tekst 2">
            <a:extLst>
              <a:ext uri="{FF2B5EF4-FFF2-40B4-BE49-F238E27FC236}">
                <a16:creationId xmlns:a16="http://schemas.microsoft.com/office/drawing/2014/main" id="{F7536D57-A18B-4478-AC12-9EA9B0C05E04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899788" y="3173320"/>
            <a:ext cx="5661651" cy="267480"/>
          </a:xfrm>
        </p:spPr>
        <p:txBody>
          <a:bodyPr vert="horz" lIns="0" tIns="0" rIns="0" bIns="0"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  <a:lvl2pPr marL="217488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 algn="l"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Name | function</a:t>
            </a:r>
          </a:p>
        </p:txBody>
      </p:sp>
      <p:sp>
        <p:nvSpPr>
          <p:cNvPr id="81" name="Tijdelijke aanduiding voor verticale tekst 2">
            <a:extLst>
              <a:ext uri="{FF2B5EF4-FFF2-40B4-BE49-F238E27FC236}">
                <a16:creationId xmlns:a16="http://schemas.microsoft.com/office/drawing/2014/main" id="{FAED61EC-ED44-486A-8650-5777FDEB45BC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899788" y="3599938"/>
            <a:ext cx="1694000" cy="183397"/>
          </a:xfrm>
        </p:spPr>
        <p:txBody>
          <a:bodyPr vert="horz" lIns="0" tIns="0" rIns="0" bIns="0" anchor="ctr"/>
          <a:lstStyle>
            <a:lvl1pPr marL="0" indent="0">
              <a:buNone/>
              <a:defRPr sz="1100">
                <a:solidFill>
                  <a:schemeClr val="accent2"/>
                </a:solidFill>
              </a:defRPr>
            </a:lvl1pPr>
            <a:lvl2pPr marL="217488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Location</a:t>
            </a:r>
          </a:p>
        </p:txBody>
      </p:sp>
      <p:sp>
        <p:nvSpPr>
          <p:cNvPr id="82" name="Tijdelijke aanduiding voor verticale tekst 2">
            <a:extLst>
              <a:ext uri="{FF2B5EF4-FFF2-40B4-BE49-F238E27FC236}">
                <a16:creationId xmlns:a16="http://schemas.microsoft.com/office/drawing/2014/main" id="{1AEAC332-07FC-4E34-8F38-1F235E40D869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99788" y="3794532"/>
            <a:ext cx="1694000" cy="183397"/>
          </a:xfrm>
        </p:spPr>
        <p:txBody>
          <a:bodyPr vert="horz" lIns="0" tIns="0" rIns="0" bIns="0" anchor="ctr"/>
          <a:lstStyle>
            <a:lvl1pPr marL="0" indent="0">
              <a:buNone/>
              <a:defRPr sz="1100">
                <a:solidFill>
                  <a:schemeClr val="accent2"/>
                </a:solidFill>
              </a:defRPr>
            </a:lvl1pPr>
            <a:lvl2pPr marL="217488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605882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10B0C19-F956-47F0-90FD-7C51A56799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90155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10B0C19-F956-47F0-90FD-7C51A56799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471DAB54-5D5A-4143-84D7-830C28ABFA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>
              <a:latin typeface="Source Sans Pro" panose="020B0503030403020204" pitchFamily="34" charset="0"/>
              <a:ea typeface="+mj-ea"/>
              <a:cs typeface="+mj-cs"/>
              <a:sym typeface="Source Sans Pro" panose="020B0503030403020204" pitchFamily="34" charset="0"/>
            </a:endParaRPr>
          </a:p>
        </p:txBody>
      </p:sp>
      <p:sp>
        <p:nvSpPr>
          <p:cNvPr id="52" name="Tijdelijke aanduiding voor afbeelding 8">
            <a:extLst>
              <a:ext uri="{FF2B5EF4-FFF2-40B4-BE49-F238E27FC236}">
                <a16:creationId xmlns:a16="http://schemas.microsoft.com/office/drawing/2014/main" id="{A8AB96D0-8848-45C3-915C-A276917B390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5375" y="1434"/>
            <a:ext cx="12202750" cy="685656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he icon below </a:t>
            </a:r>
            <a:br>
              <a:rPr lang="en-US"/>
            </a:br>
            <a:r>
              <a:rPr lang="en-US"/>
              <a:t>to add an image.</a:t>
            </a:r>
            <a:br>
              <a:rPr lang="en-US"/>
            </a:br>
            <a:br>
              <a:rPr lang="en-US"/>
            </a:br>
            <a:r>
              <a:rPr lang="en-US"/>
              <a:t>Need additional help?</a:t>
            </a:r>
            <a:br>
              <a:rPr lang="en-US"/>
            </a:br>
            <a:r>
              <a:rPr lang="en-US"/>
              <a:t>To the side of the slides we’ve placed extra</a:t>
            </a:r>
            <a:br>
              <a:rPr lang="en-US"/>
            </a:br>
            <a:r>
              <a:rPr lang="en-US"/>
              <a:t> instructions how to process content. </a:t>
            </a:r>
          </a:p>
        </p:txBody>
      </p:sp>
      <p:sp>
        <p:nvSpPr>
          <p:cNvPr id="7" name="Tekstvak 6"/>
          <p:cNvSpPr txBox="1"/>
          <p:nvPr userDrawn="1"/>
        </p:nvSpPr>
        <p:spPr>
          <a:xfrm>
            <a:off x="-10750" y="-662296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914400" rtl="0" eaLnBrk="1" latinLnBrk="0" hangingPunct="1"/>
            <a:r>
              <a:rPr lang="en-US" sz="2400" b="0" kern="1200" spc="50" baseline="0">
                <a:solidFill>
                  <a:schemeClr val="accent2"/>
                </a:solidFill>
                <a:latin typeface="+mj-lt"/>
                <a:ea typeface="+mn-ea"/>
                <a:cs typeface="Calibri" panose="020F0502020204030204" pitchFamily="34" charset="0"/>
              </a:rPr>
              <a:t>Title 3 lines</a:t>
            </a:r>
          </a:p>
        </p:txBody>
      </p:sp>
      <p:sp>
        <p:nvSpPr>
          <p:cNvPr id="21" name="Tijdelijke aanduiding voor tekst 20">
            <a:extLst>
              <a:ext uri="{FF2B5EF4-FFF2-40B4-BE49-F238E27FC236}">
                <a16:creationId xmlns:a16="http://schemas.microsoft.com/office/drawing/2014/main" id="{C7B47E14-EE28-4D74-9432-3201CB7BB0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11114" y="-1"/>
            <a:ext cx="7289277" cy="5387330"/>
          </a:xfrm>
          <a:custGeom>
            <a:avLst/>
            <a:gdLst>
              <a:gd name="connsiteX0" fmla="*/ 0 w 7289277"/>
              <a:gd name="connsiteY0" fmla="*/ 0 h 5387330"/>
              <a:gd name="connsiteX1" fmla="*/ 6049627 w 7289277"/>
              <a:gd name="connsiteY1" fmla="*/ 0 h 5387330"/>
              <a:gd name="connsiteX2" fmla="*/ 6203156 w 7289277"/>
              <a:gd name="connsiteY2" fmla="*/ 266658 h 5387330"/>
              <a:gd name="connsiteX3" fmla="*/ 7228436 w 7289277"/>
              <a:gd name="connsiteY3" fmla="*/ 2919047 h 5387330"/>
              <a:gd name="connsiteX4" fmla="*/ 7289277 w 7289277"/>
              <a:gd name="connsiteY4" fmla="*/ 3190251 h 5387330"/>
              <a:gd name="connsiteX5" fmla="*/ 7289277 w 7289277"/>
              <a:gd name="connsiteY5" fmla="*/ 3321889 h 5387330"/>
              <a:gd name="connsiteX6" fmla="*/ 7265384 w 7289277"/>
              <a:gd name="connsiteY6" fmla="*/ 3384498 h 5387330"/>
              <a:gd name="connsiteX7" fmla="*/ 7124486 w 7289277"/>
              <a:gd name="connsiteY7" fmla="*/ 3486931 h 5387330"/>
              <a:gd name="connsiteX8" fmla="*/ 6836387 w 7289277"/>
              <a:gd name="connsiteY8" fmla="*/ 3557697 h 5387330"/>
              <a:gd name="connsiteX9" fmla="*/ 0 w 7289277"/>
              <a:gd name="connsiteY9" fmla="*/ 5387330 h 5387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289277" h="5387330">
                <a:moveTo>
                  <a:pt x="0" y="0"/>
                </a:moveTo>
                <a:lnTo>
                  <a:pt x="6049627" y="0"/>
                </a:lnTo>
                <a:lnTo>
                  <a:pt x="6203156" y="266658"/>
                </a:lnTo>
                <a:cubicBezTo>
                  <a:pt x="6687932" y="1141334"/>
                  <a:pt x="7028838" y="2027223"/>
                  <a:pt x="7228436" y="2919047"/>
                </a:cubicBezTo>
                <a:lnTo>
                  <a:pt x="7289277" y="3190251"/>
                </a:lnTo>
                <a:lnTo>
                  <a:pt x="7289277" y="3321889"/>
                </a:lnTo>
                <a:lnTo>
                  <a:pt x="7265384" y="3384498"/>
                </a:lnTo>
                <a:cubicBezTo>
                  <a:pt x="7234723" y="3434013"/>
                  <a:pt x="7185399" y="3471961"/>
                  <a:pt x="7124486" y="3486931"/>
                </a:cubicBezTo>
                <a:lnTo>
                  <a:pt x="6836387" y="3557697"/>
                </a:lnTo>
                <a:lnTo>
                  <a:pt x="0" y="538733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5" name="Titel 5">
            <a:extLst>
              <a:ext uri="{FF2B5EF4-FFF2-40B4-BE49-F238E27FC236}">
                <a16:creationId xmlns:a16="http://schemas.microsoft.com/office/drawing/2014/main" id="{20DBEB7A-7FB1-4F46-90EC-A1F387B9FD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9517" y="1298686"/>
            <a:ext cx="5651922" cy="1715496"/>
          </a:xfrm>
        </p:spPr>
        <p:txBody>
          <a:bodyPr/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Template for  a long title</a:t>
            </a:r>
            <a:br>
              <a:rPr lang="en-US" noProof="0"/>
            </a:br>
            <a:r>
              <a:rPr lang="en-US" noProof="0"/>
              <a:t>over a maximum of </a:t>
            </a:r>
            <a:br>
              <a:rPr lang="en-US" noProof="0"/>
            </a:br>
            <a:r>
              <a:rPr lang="en-US" noProof="0"/>
              <a:t>three lines</a:t>
            </a:r>
            <a:endParaRPr lang="en-US"/>
          </a:p>
        </p:txBody>
      </p:sp>
      <p:sp>
        <p:nvSpPr>
          <p:cNvPr id="77" name="Tijdelijke aanduiding voor tekst 19">
            <a:extLst>
              <a:ext uri="{FF2B5EF4-FFF2-40B4-BE49-F238E27FC236}">
                <a16:creationId xmlns:a16="http://schemas.microsoft.com/office/drawing/2014/main" id="{D2143D6B-C64D-43A2-A51B-B1C2C57B18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1339" y="899558"/>
            <a:ext cx="1369048" cy="122301"/>
          </a:xfrm>
          <a:prstGeom prst="rect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10141" b="7644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ijdelijke aanduiding voor dianummer 4">
            <a:extLst>
              <a:ext uri="{FF2B5EF4-FFF2-40B4-BE49-F238E27FC236}">
                <a16:creationId xmlns:a16="http://schemas.microsoft.com/office/drawing/2014/main" id="{9B3D841A-F53B-4089-8C5F-8E2CBE79E5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680" y="6274117"/>
            <a:ext cx="44204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79" name="Tijdelijke aanduiding voor verticale tekst 2">
            <a:extLst>
              <a:ext uri="{FF2B5EF4-FFF2-40B4-BE49-F238E27FC236}">
                <a16:creationId xmlns:a16="http://schemas.microsoft.com/office/drawing/2014/main" id="{63F012EF-3F75-4412-9958-D5864FA2D74B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899788" y="3173320"/>
            <a:ext cx="5661651" cy="267480"/>
          </a:xfrm>
        </p:spPr>
        <p:txBody>
          <a:bodyPr vert="horz" lIns="0" tIns="0" rIns="0" bIns="0"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  <a:lvl2pPr marL="217488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 algn="l"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Name | function</a:t>
            </a:r>
          </a:p>
        </p:txBody>
      </p:sp>
      <p:sp>
        <p:nvSpPr>
          <p:cNvPr id="80" name="Tijdelijke aanduiding voor verticale tekst 2">
            <a:extLst>
              <a:ext uri="{FF2B5EF4-FFF2-40B4-BE49-F238E27FC236}">
                <a16:creationId xmlns:a16="http://schemas.microsoft.com/office/drawing/2014/main" id="{85267F2A-8DB0-4787-B53A-19ABD155495A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899788" y="3599938"/>
            <a:ext cx="1694000" cy="183397"/>
          </a:xfrm>
        </p:spPr>
        <p:txBody>
          <a:bodyPr vert="horz" lIns="0" tIns="0" rIns="0" bIns="0" anchor="ctr"/>
          <a:lstStyle>
            <a:lvl1pPr marL="0" indent="0">
              <a:buNone/>
              <a:defRPr sz="1100">
                <a:solidFill>
                  <a:schemeClr val="accent2"/>
                </a:solidFill>
              </a:defRPr>
            </a:lvl1pPr>
            <a:lvl2pPr marL="217488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Location</a:t>
            </a:r>
          </a:p>
        </p:txBody>
      </p:sp>
      <p:sp>
        <p:nvSpPr>
          <p:cNvPr id="81" name="Tijdelijke aanduiding voor verticale tekst 2">
            <a:extLst>
              <a:ext uri="{FF2B5EF4-FFF2-40B4-BE49-F238E27FC236}">
                <a16:creationId xmlns:a16="http://schemas.microsoft.com/office/drawing/2014/main" id="{F6A41549-579D-407E-BE8B-FC01F69FAF47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99788" y="3794532"/>
            <a:ext cx="1694000" cy="183397"/>
          </a:xfrm>
        </p:spPr>
        <p:txBody>
          <a:bodyPr vert="horz" lIns="0" tIns="0" rIns="0" bIns="0" anchor="ctr"/>
          <a:lstStyle>
            <a:lvl1pPr marL="0" marR="0" indent="0" algn="l" defTabSz="71913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  <a:tabLst/>
              <a:defRPr sz="1100">
                <a:solidFill>
                  <a:schemeClr val="accent2"/>
                </a:solidFill>
              </a:defRPr>
            </a:lvl1pPr>
            <a:lvl2pPr marL="217488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marL="0" marR="0" lvl="0" indent="0" algn="l" defTabSz="71913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  <a:tabLst/>
              <a:defRPr/>
            </a:pPr>
            <a:r>
              <a:rPr lang="en-US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802898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ic intro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C3BE452-B36D-45A4-AA1A-A48388E358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7120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C3BE452-B36D-45A4-AA1A-A48388E358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11E1A188-EEBA-4D19-B477-D77B2CE73E1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Source Sans Pro" panose="020B0503030403020204" pitchFamily="34" charset="0"/>
              <a:ea typeface="+mj-ea"/>
              <a:cs typeface="+mj-cs"/>
              <a:sym typeface="Source Sans Pro" panose="020B0503030403020204" pitchFamily="34" charset="0"/>
            </a:endParaRPr>
          </a:p>
        </p:txBody>
      </p:sp>
      <p:sp>
        <p:nvSpPr>
          <p:cNvPr id="52" name="Tijdelijke aanduiding voor afbeelding 8">
            <a:extLst>
              <a:ext uri="{FF2B5EF4-FFF2-40B4-BE49-F238E27FC236}">
                <a16:creationId xmlns:a16="http://schemas.microsoft.com/office/drawing/2014/main" id="{A8AB96D0-8848-45C3-915C-A276917B390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369733" y="1434"/>
            <a:ext cx="8827642" cy="685656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he icon below </a:t>
            </a:r>
            <a:br>
              <a:rPr lang="en-US"/>
            </a:br>
            <a:r>
              <a:rPr lang="en-US"/>
              <a:t>to add an image.</a:t>
            </a:r>
            <a:br>
              <a:rPr lang="en-US"/>
            </a:br>
            <a:br>
              <a:rPr lang="en-US"/>
            </a:br>
            <a:r>
              <a:rPr lang="en-US"/>
              <a:t>Need additional help?</a:t>
            </a:r>
            <a:br>
              <a:rPr lang="en-US"/>
            </a:br>
            <a:r>
              <a:rPr lang="en-US"/>
              <a:t>To the side of the slides we’ve placed extra</a:t>
            </a:r>
            <a:br>
              <a:rPr lang="en-US"/>
            </a:br>
            <a:r>
              <a:rPr lang="en-US"/>
              <a:t> instructions how to process content. </a:t>
            </a:r>
          </a:p>
        </p:txBody>
      </p:sp>
      <p:sp>
        <p:nvSpPr>
          <p:cNvPr id="7" name="Tekstvak 6"/>
          <p:cNvSpPr txBox="1"/>
          <p:nvPr userDrawn="1"/>
        </p:nvSpPr>
        <p:spPr>
          <a:xfrm>
            <a:off x="-10750" y="-662296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914400" rtl="0" eaLnBrk="1" latinLnBrk="0" hangingPunct="1"/>
            <a:r>
              <a:rPr lang="en-US" sz="2400" b="0" kern="1200" spc="50" baseline="0">
                <a:solidFill>
                  <a:schemeClr val="accent2"/>
                </a:solidFill>
                <a:latin typeface="+mj-lt"/>
                <a:ea typeface="+mn-ea"/>
                <a:cs typeface="Calibri" panose="020F0502020204030204" pitchFamily="34" charset="0"/>
              </a:rPr>
              <a:t>Topic intro #1</a:t>
            </a:r>
          </a:p>
        </p:txBody>
      </p:sp>
      <p:sp>
        <p:nvSpPr>
          <p:cNvPr id="22" name="Tijdelijke aanduiding voor tekst 21">
            <a:extLst>
              <a:ext uri="{FF2B5EF4-FFF2-40B4-BE49-F238E27FC236}">
                <a16:creationId xmlns:a16="http://schemas.microsoft.com/office/drawing/2014/main" id="{B53C83A6-7A3C-48D6-B5CB-AB03B11D59E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11114" y="-1"/>
            <a:ext cx="8274855" cy="6856566"/>
          </a:xfrm>
          <a:custGeom>
            <a:avLst/>
            <a:gdLst>
              <a:gd name="connsiteX0" fmla="*/ 0 w 8274855"/>
              <a:gd name="connsiteY0" fmla="*/ 0 h 6856566"/>
              <a:gd name="connsiteX1" fmla="*/ 5319198 w 8274855"/>
              <a:gd name="connsiteY1" fmla="*/ 0 h 6856566"/>
              <a:gd name="connsiteX2" fmla="*/ 5449995 w 8274855"/>
              <a:gd name="connsiteY2" fmla="*/ 95859 h 6856566"/>
              <a:gd name="connsiteX3" fmla="*/ 8030815 w 8274855"/>
              <a:gd name="connsiteY3" fmla="*/ 2753194 h 6856566"/>
              <a:gd name="connsiteX4" fmla="*/ 8227755 w 8274855"/>
              <a:gd name="connsiteY4" fmla="*/ 3038206 h 6856566"/>
              <a:gd name="connsiteX5" fmla="*/ 8164767 w 8274855"/>
              <a:gd name="connsiteY5" fmla="*/ 3404208 h 6856566"/>
              <a:gd name="connsiteX6" fmla="*/ 7887758 w 8274855"/>
              <a:gd name="connsiteY6" fmla="*/ 3603996 h 6856566"/>
              <a:gd name="connsiteX7" fmla="*/ 3568790 w 8274855"/>
              <a:gd name="connsiteY7" fmla="*/ 6856566 h 6856566"/>
              <a:gd name="connsiteX8" fmla="*/ 0 w 8274855"/>
              <a:gd name="connsiteY8" fmla="*/ 6856566 h 6856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274855" h="6856566">
                <a:moveTo>
                  <a:pt x="0" y="0"/>
                </a:moveTo>
                <a:lnTo>
                  <a:pt x="5319198" y="0"/>
                </a:lnTo>
                <a:lnTo>
                  <a:pt x="5449995" y="95859"/>
                </a:lnTo>
                <a:cubicBezTo>
                  <a:pt x="6498368" y="890092"/>
                  <a:pt x="7358424" y="1779069"/>
                  <a:pt x="8030815" y="2753194"/>
                </a:cubicBezTo>
                <a:lnTo>
                  <a:pt x="8227755" y="3038206"/>
                </a:lnTo>
                <a:cubicBezTo>
                  <a:pt x="8309904" y="3157091"/>
                  <a:pt x="8281899" y="3319709"/>
                  <a:pt x="8164767" y="3404208"/>
                </a:cubicBezTo>
                <a:lnTo>
                  <a:pt x="7887758" y="3603996"/>
                </a:lnTo>
                <a:lnTo>
                  <a:pt x="3568790" y="6856566"/>
                </a:lnTo>
                <a:lnTo>
                  <a:pt x="0" y="685656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5" name="Titel 5">
            <a:extLst>
              <a:ext uri="{FF2B5EF4-FFF2-40B4-BE49-F238E27FC236}">
                <a16:creationId xmlns:a16="http://schemas.microsoft.com/office/drawing/2014/main" id="{20DBEB7A-7FB1-4F46-90EC-A1F387B9FD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9516" y="1600722"/>
            <a:ext cx="5898787" cy="1530061"/>
          </a:xfrm>
        </p:spPr>
        <p:txBody>
          <a:bodyPr/>
          <a:lstStyle>
            <a:lvl1pPr>
              <a:lnSpc>
                <a:spcPct val="100000"/>
              </a:lnSpc>
              <a:defRPr sz="4400" b="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Template for  </a:t>
            </a:r>
            <a:br>
              <a:rPr lang="en-US" noProof="0"/>
            </a:br>
            <a:r>
              <a:rPr lang="en-US" noProof="0"/>
              <a:t>a two line topic intro</a:t>
            </a:r>
            <a:endParaRPr lang="en-US"/>
          </a:p>
        </p:txBody>
      </p:sp>
      <p:sp>
        <p:nvSpPr>
          <p:cNvPr id="29" name="Tijdelijke aanduiding voor verticale tekst 2">
            <a:extLst>
              <a:ext uri="{FF2B5EF4-FFF2-40B4-BE49-F238E27FC236}">
                <a16:creationId xmlns:a16="http://schemas.microsoft.com/office/drawing/2014/main" id="{073276D7-D0DE-47ED-A310-B2D461F964CB}"/>
              </a:ext>
            </a:extLst>
          </p:cNvPr>
          <p:cNvSpPr>
            <a:spLocks noGrp="1"/>
          </p:cNvSpPr>
          <p:nvPr>
            <p:ph type="body" orient="vert" idx="23" hasCustomPrompt="1"/>
          </p:nvPr>
        </p:nvSpPr>
        <p:spPr>
          <a:xfrm>
            <a:off x="909518" y="907278"/>
            <a:ext cx="949099" cy="693443"/>
          </a:xfrm>
        </p:spPr>
        <p:txBody>
          <a:bodyPr vert="horz" lIns="0" tIns="0" rIns="0" bIns="0"/>
          <a:lstStyle>
            <a:lvl1pPr marL="0" indent="0">
              <a:buNone/>
              <a:defRPr sz="4800" b="1">
                <a:solidFill>
                  <a:schemeClr val="accent2"/>
                </a:solidFill>
              </a:defRPr>
            </a:lvl1pPr>
            <a:lvl2pPr marL="217488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1.0</a:t>
            </a:r>
          </a:p>
        </p:txBody>
      </p:sp>
      <p:sp>
        <p:nvSpPr>
          <p:cNvPr id="32" name="Tijdelijke aanduiding voor tekst 19">
            <a:extLst>
              <a:ext uri="{FF2B5EF4-FFF2-40B4-BE49-F238E27FC236}">
                <a16:creationId xmlns:a16="http://schemas.microsoft.com/office/drawing/2014/main" id="{FF71B9C6-4D17-4573-B6E0-2C28832A480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6836" y="6421632"/>
            <a:ext cx="1355493" cy="118704"/>
          </a:xfrm>
          <a:prstGeom prst="rect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10141" b="7644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3" name="Tijdelijke aanduiding voor dianummer 4">
            <a:extLst>
              <a:ext uri="{FF2B5EF4-FFF2-40B4-BE49-F238E27FC236}">
                <a16:creationId xmlns:a16="http://schemas.microsoft.com/office/drawing/2014/main" id="{F365B660-2898-4554-A3B4-63CEDFF47F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680" y="6274117"/>
            <a:ext cx="44204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8463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ic intro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156E937-E2FE-45BB-BAF1-9ED99D95AF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2917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156E937-E2FE-45BB-BAF1-9ED99D95AF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67095402-317B-4526-9FF5-6B45E9D45DC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>
              <a:latin typeface="Source Sans Pro" panose="020B0503030403020204" pitchFamily="34" charset="0"/>
              <a:ea typeface="+mj-ea"/>
              <a:cs typeface="+mj-cs"/>
              <a:sym typeface="Source Sans Pro" panose="020B0503030403020204" pitchFamily="34" charset="0"/>
            </a:endParaRPr>
          </a:p>
        </p:txBody>
      </p:sp>
      <p:sp>
        <p:nvSpPr>
          <p:cNvPr id="52" name="Tijdelijke aanduiding voor afbeelding 8">
            <a:extLst>
              <a:ext uri="{FF2B5EF4-FFF2-40B4-BE49-F238E27FC236}">
                <a16:creationId xmlns:a16="http://schemas.microsoft.com/office/drawing/2014/main" id="{A8AB96D0-8848-45C3-915C-A276917B390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72361" y="1434"/>
            <a:ext cx="7525014" cy="685656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he icon below </a:t>
            </a:r>
            <a:br>
              <a:rPr lang="en-US"/>
            </a:br>
            <a:r>
              <a:rPr lang="en-US"/>
              <a:t>to add an image.</a:t>
            </a:r>
            <a:br>
              <a:rPr lang="en-US"/>
            </a:br>
            <a:br>
              <a:rPr lang="en-US"/>
            </a:br>
            <a:r>
              <a:rPr lang="en-US"/>
              <a:t>Need additional help?</a:t>
            </a:r>
            <a:br>
              <a:rPr lang="en-US"/>
            </a:br>
            <a:r>
              <a:rPr lang="en-US"/>
              <a:t>To the side of the slides we’ve placed extra</a:t>
            </a:r>
            <a:br>
              <a:rPr lang="en-US"/>
            </a:br>
            <a:r>
              <a:rPr lang="en-US"/>
              <a:t> instructions how to process content. </a:t>
            </a:r>
          </a:p>
        </p:txBody>
      </p:sp>
      <p:sp>
        <p:nvSpPr>
          <p:cNvPr id="7" name="Tekstvak 6"/>
          <p:cNvSpPr txBox="1"/>
          <p:nvPr userDrawn="1"/>
        </p:nvSpPr>
        <p:spPr>
          <a:xfrm>
            <a:off x="-10750" y="-662296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914400" rtl="0" eaLnBrk="1" latinLnBrk="0" hangingPunct="1"/>
            <a:r>
              <a:rPr lang="en-US" sz="2400" b="0" kern="1200" spc="50" baseline="0">
                <a:solidFill>
                  <a:schemeClr val="accent2"/>
                </a:solidFill>
                <a:latin typeface="+mj-lt"/>
                <a:ea typeface="+mn-ea"/>
                <a:cs typeface="Calibri" panose="020F0502020204030204" pitchFamily="34" charset="0"/>
              </a:rPr>
              <a:t>Topic intro #2</a:t>
            </a:r>
          </a:p>
        </p:txBody>
      </p:sp>
      <p:sp>
        <p:nvSpPr>
          <p:cNvPr id="30" name="Tijdelijke aanduiding voor tekst 29">
            <a:extLst>
              <a:ext uri="{FF2B5EF4-FFF2-40B4-BE49-F238E27FC236}">
                <a16:creationId xmlns:a16="http://schemas.microsoft.com/office/drawing/2014/main" id="{28DEA8B3-8E2E-4DD4-BFB4-8322FEF344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11114" y="-1"/>
            <a:ext cx="7178550" cy="6858001"/>
          </a:xfrm>
          <a:custGeom>
            <a:avLst/>
            <a:gdLst>
              <a:gd name="connsiteX0" fmla="*/ 0 w 7178550"/>
              <a:gd name="connsiteY0" fmla="*/ 0 h 6858001"/>
              <a:gd name="connsiteX1" fmla="*/ 4711447 w 7178550"/>
              <a:gd name="connsiteY1" fmla="*/ 0 h 6858001"/>
              <a:gd name="connsiteX2" fmla="*/ 7071235 w 7178550"/>
              <a:gd name="connsiteY2" fmla="*/ 1592714 h 6858001"/>
              <a:gd name="connsiteX3" fmla="*/ 7176909 w 7178550"/>
              <a:gd name="connsiteY3" fmla="*/ 1822956 h 6858001"/>
              <a:gd name="connsiteX4" fmla="*/ 6584537 w 7178550"/>
              <a:gd name="connsiteY4" fmla="*/ 6856566 h 6858001"/>
              <a:gd name="connsiteX5" fmla="*/ 2721595 w 7178550"/>
              <a:gd name="connsiteY5" fmla="*/ 6856566 h 6858001"/>
              <a:gd name="connsiteX6" fmla="*/ 2721595 w 7178550"/>
              <a:gd name="connsiteY6" fmla="*/ 6858001 h 6858001"/>
              <a:gd name="connsiteX7" fmla="*/ 0 w 7178550"/>
              <a:gd name="connsiteY7" fmla="*/ 6858001 h 6858001"/>
              <a:gd name="connsiteX8" fmla="*/ 0 w 7178550"/>
              <a:gd name="connsiteY8" fmla="*/ 6681890 h 6858001"/>
              <a:gd name="connsiteX9" fmla="*/ 0 w 7178550"/>
              <a:gd name="connsiteY9" fmla="*/ 585439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78550" h="6858001">
                <a:moveTo>
                  <a:pt x="0" y="0"/>
                </a:moveTo>
                <a:lnTo>
                  <a:pt x="4711447" y="0"/>
                </a:lnTo>
                <a:lnTo>
                  <a:pt x="7071235" y="1592714"/>
                </a:lnTo>
                <a:cubicBezTo>
                  <a:pt x="7146780" y="1643697"/>
                  <a:pt x="7187432" y="1732515"/>
                  <a:pt x="7176909" y="1822956"/>
                </a:cubicBezTo>
                <a:lnTo>
                  <a:pt x="6584537" y="6856566"/>
                </a:lnTo>
                <a:lnTo>
                  <a:pt x="2721595" y="6856566"/>
                </a:lnTo>
                <a:lnTo>
                  <a:pt x="2721595" y="6858001"/>
                </a:lnTo>
                <a:lnTo>
                  <a:pt x="0" y="6858001"/>
                </a:lnTo>
                <a:lnTo>
                  <a:pt x="0" y="6681890"/>
                </a:lnTo>
                <a:lnTo>
                  <a:pt x="0" y="5854391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5" name="Titel 5">
            <a:extLst>
              <a:ext uri="{FF2B5EF4-FFF2-40B4-BE49-F238E27FC236}">
                <a16:creationId xmlns:a16="http://schemas.microsoft.com/office/drawing/2014/main" id="{20DBEB7A-7FB1-4F46-90EC-A1F387B9FD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9516" y="1600722"/>
            <a:ext cx="5898787" cy="2186711"/>
          </a:xfrm>
        </p:spPr>
        <p:txBody>
          <a:bodyPr/>
          <a:lstStyle>
            <a:lvl1pPr>
              <a:lnSpc>
                <a:spcPct val="100000"/>
              </a:lnSpc>
              <a:defRPr sz="4000" b="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Template for  </a:t>
            </a:r>
            <a:br>
              <a:rPr lang="en-US" noProof="0"/>
            </a:br>
            <a:r>
              <a:rPr lang="en-US" noProof="0"/>
              <a:t>a three line topic </a:t>
            </a:r>
            <a:br>
              <a:rPr lang="en-US" noProof="0"/>
            </a:br>
            <a:r>
              <a:rPr lang="en-US" noProof="0"/>
              <a:t>intro</a:t>
            </a:r>
            <a:endParaRPr lang="en-US"/>
          </a:p>
        </p:txBody>
      </p:sp>
      <p:sp>
        <p:nvSpPr>
          <p:cNvPr id="29" name="Tijdelijke aanduiding voor verticale tekst 2">
            <a:extLst>
              <a:ext uri="{FF2B5EF4-FFF2-40B4-BE49-F238E27FC236}">
                <a16:creationId xmlns:a16="http://schemas.microsoft.com/office/drawing/2014/main" id="{073276D7-D0DE-47ED-A310-B2D461F964CB}"/>
              </a:ext>
            </a:extLst>
          </p:cNvPr>
          <p:cNvSpPr>
            <a:spLocks noGrp="1"/>
          </p:cNvSpPr>
          <p:nvPr>
            <p:ph type="body" orient="vert" idx="23" hasCustomPrompt="1"/>
          </p:nvPr>
        </p:nvSpPr>
        <p:spPr>
          <a:xfrm>
            <a:off x="909518" y="907278"/>
            <a:ext cx="949099" cy="693443"/>
          </a:xfrm>
        </p:spPr>
        <p:txBody>
          <a:bodyPr vert="horz" lIns="0" tIns="0" rIns="0" bIns="0"/>
          <a:lstStyle>
            <a:lvl1pPr marL="0" indent="0">
              <a:buNone/>
              <a:defRPr sz="4000" b="1">
                <a:solidFill>
                  <a:schemeClr val="accent2"/>
                </a:solidFill>
              </a:defRPr>
            </a:lvl1pPr>
            <a:lvl2pPr marL="217488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2.0</a:t>
            </a:r>
          </a:p>
        </p:txBody>
      </p:sp>
      <p:sp>
        <p:nvSpPr>
          <p:cNvPr id="33" name="Tijdelijke aanduiding voor tekst 19">
            <a:extLst>
              <a:ext uri="{FF2B5EF4-FFF2-40B4-BE49-F238E27FC236}">
                <a16:creationId xmlns:a16="http://schemas.microsoft.com/office/drawing/2014/main" id="{6C55987F-5DD0-48A2-9276-5F7114387E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6836" y="6421632"/>
            <a:ext cx="1355493" cy="118704"/>
          </a:xfrm>
          <a:prstGeom prst="rect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10141" b="7644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3" name="Tijdelijke aanduiding voor dianummer 4">
            <a:extLst>
              <a:ext uri="{FF2B5EF4-FFF2-40B4-BE49-F238E27FC236}">
                <a16:creationId xmlns:a16="http://schemas.microsoft.com/office/drawing/2014/main" id="{80BEE76C-94E2-4227-9C19-179BFFAA1E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680" y="6274117"/>
            <a:ext cx="44204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53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ic intro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423C8B5-8B31-4827-B8BA-19A1C5071A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6687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423C8B5-8B31-4827-B8BA-19A1C5071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6CB5FE7E-C2F2-417D-A652-0CF5025CD66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>
              <a:latin typeface="Source Sans Pro" panose="020B0503030403020204" pitchFamily="34" charset="0"/>
              <a:ea typeface="+mj-ea"/>
              <a:cs typeface="+mj-cs"/>
              <a:sym typeface="Source Sans Pro" panose="020B0503030403020204" pitchFamily="34" charset="0"/>
            </a:endParaRPr>
          </a:p>
        </p:txBody>
      </p:sp>
      <p:sp>
        <p:nvSpPr>
          <p:cNvPr id="52" name="Tijdelijke aanduiding voor afbeelding 8">
            <a:extLst>
              <a:ext uri="{FF2B5EF4-FFF2-40B4-BE49-F238E27FC236}">
                <a16:creationId xmlns:a16="http://schemas.microsoft.com/office/drawing/2014/main" id="{A8AB96D0-8848-45C3-915C-A276917B390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67199" y="1434"/>
            <a:ext cx="7930175" cy="685656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he icon below </a:t>
            </a:r>
            <a:br>
              <a:rPr lang="en-US"/>
            </a:br>
            <a:r>
              <a:rPr lang="en-US"/>
              <a:t>to add an image.</a:t>
            </a:r>
            <a:br>
              <a:rPr lang="en-US"/>
            </a:br>
            <a:br>
              <a:rPr lang="en-US"/>
            </a:br>
            <a:r>
              <a:rPr lang="en-US"/>
              <a:t>Need additional help?</a:t>
            </a:r>
            <a:br>
              <a:rPr lang="en-US"/>
            </a:br>
            <a:r>
              <a:rPr lang="en-US"/>
              <a:t>To the side of the slides we’ve placed extra</a:t>
            </a:r>
            <a:br>
              <a:rPr lang="en-US"/>
            </a:br>
            <a:r>
              <a:rPr lang="en-US"/>
              <a:t> instructions how to process content. </a:t>
            </a:r>
          </a:p>
        </p:txBody>
      </p:sp>
      <p:sp>
        <p:nvSpPr>
          <p:cNvPr id="7" name="Tekstvak 6"/>
          <p:cNvSpPr txBox="1"/>
          <p:nvPr userDrawn="1"/>
        </p:nvSpPr>
        <p:spPr>
          <a:xfrm>
            <a:off x="-10750" y="-662296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914400" rtl="0" eaLnBrk="1" latinLnBrk="0" hangingPunct="1"/>
            <a:r>
              <a:rPr lang="en-US" sz="2400" b="0" kern="1200" spc="50" baseline="0">
                <a:solidFill>
                  <a:schemeClr val="accent2"/>
                </a:solidFill>
                <a:latin typeface="+mj-lt"/>
                <a:ea typeface="+mn-ea"/>
                <a:cs typeface="Calibri" panose="020F0502020204030204" pitchFamily="34" charset="0"/>
              </a:rPr>
              <a:t>Topic intro #3</a:t>
            </a:r>
          </a:p>
        </p:txBody>
      </p:sp>
      <p:sp>
        <p:nvSpPr>
          <p:cNvPr id="22" name="Tijdelijke aanduiding voor tekst 21">
            <a:extLst>
              <a:ext uri="{FF2B5EF4-FFF2-40B4-BE49-F238E27FC236}">
                <a16:creationId xmlns:a16="http://schemas.microsoft.com/office/drawing/2014/main" id="{5A660C37-7D25-40DE-8850-F6E75C0B8A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11113" y="-1"/>
            <a:ext cx="7705441" cy="6858001"/>
          </a:xfrm>
          <a:custGeom>
            <a:avLst/>
            <a:gdLst>
              <a:gd name="connsiteX0" fmla="*/ 0 w 7705441"/>
              <a:gd name="connsiteY0" fmla="*/ 0 h 6858001"/>
              <a:gd name="connsiteX1" fmla="*/ 1323008 w 7705441"/>
              <a:gd name="connsiteY1" fmla="*/ 0 h 6858001"/>
              <a:gd name="connsiteX2" fmla="*/ 1869730 w 7705441"/>
              <a:gd name="connsiteY2" fmla="*/ 0 h 6858001"/>
              <a:gd name="connsiteX3" fmla="*/ 4331973 w 7705441"/>
              <a:gd name="connsiteY3" fmla="*/ 0 h 6858001"/>
              <a:gd name="connsiteX4" fmla="*/ 7593557 w 7705441"/>
              <a:gd name="connsiteY4" fmla="*/ 2094855 h 6858001"/>
              <a:gd name="connsiteX5" fmla="*/ 7666832 w 7705441"/>
              <a:gd name="connsiteY5" fmla="*/ 2431265 h 6858001"/>
              <a:gd name="connsiteX6" fmla="*/ 4824195 w 7705441"/>
              <a:gd name="connsiteY6" fmla="*/ 6858001 h 6858001"/>
              <a:gd name="connsiteX7" fmla="*/ 0 w 7705441"/>
              <a:gd name="connsiteY7" fmla="*/ 6858001 h 6858001"/>
              <a:gd name="connsiteX8" fmla="*/ 0 w 7705441"/>
              <a:gd name="connsiteY8" fmla="*/ 1752601 h 6858001"/>
              <a:gd name="connsiteX9" fmla="*/ 0 w 7705441"/>
              <a:gd name="connsiteY9" fmla="*/ 763316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705441" h="6858001">
                <a:moveTo>
                  <a:pt x="0" y="0"/>
                </a:moveTo>
                <a:lnTo>
                  <a:pt x="1323008" y="0"/>
                </a:lnTo>
                <a:lnTo>
                  <a:pt x="1869730" y="0"/>
                </a:lnTo>
                <a:lnTo>
                  <a:pt x="4331973" y="0"/>
                </a:lnTo>
                <a:lnTo>
                  <a:pt x="7593557" y="2094855"/>
                </a:lnTo>
                <a:cubicBezTo>
                  <a:pt x="7706642" y="2167470"/>
                  <a:pt x="7739447" y="2318181"/>
                  <a:pt x="7666832" y="2431265"/>
                </a:cubicBezTo>
                <a:lnTo>
                  <a:pt x="4824195" y="6858001"/>
                </a:lnTo>
                <a:lnTo>
                  <a:pt x="0" y="6858001"/>
                </a:lnTo>
                <a:lnTo>
                  <a:pt x="0" y="1752601"/>
                </a:lnTo>
                <a:lnTo>
                  <a:pt x="0" y="7633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5" name="Titel 5">
            <a:extLst>
              <a:ext uri="{FF2B5EF4-FFF2-40B4-BE49-F238E27FC236}">
                <a16:creationId xmlns:a16="http://schemas.microsoft.com/office/drawing/2014/main" id="{20DBEB7A-7FB1-4F46-90EC-A1F387B9FD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9516" y="1600722"/>
            <a:ext cx="5898787" cy="2186711"/>
          </a:xfrm>
        </p:spPr>
        <p:txBody>
          <a:bodyPr/>
          <a:lstStyle>
            <a:lvl1pPr>
              <a:lnSpc>
                <a:spcPct val="100000"/>
              </a:lnSpc>
              <a:defRPr sz="4000" b="0" i="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Template for  </a:t>
            </a:r>
            <a:br>
              <a:rPr lang="en-US" noProof="0"/>
            </a:br>
            <a:r>
              <a:rPr lang="en-US" noProof="0"/>
              <a:t>a three line topic </a:t>
            </a:r>
            <a:br>
              <a:rPr lang="en-US" noProof="0"/>
            </a:br>
            <a:r>
              <a:rPr lang="en-US" noProof="0" err="1"/>
              <a:t>introsheet</a:t>
            </a:r>
            <a:endParaRPr lang="en-US"/>
          </a:p>
        </p:txBody>
      </p:sp>
      <p:sp>
        <p:nvSpPr>
          <p:cNvPr id="29" name="Tijdelijke aanduiding voor verticale tekst 2">
            <a:extLst>
              <a:ext uri="{FF2B5EF4-FFF2-40B4-BE49-F238E27FC236}">
                <a16:creationId xmlns:a16="http://schemas.microsoft.com/office/drawing/2014/main" id="{073276D7-D0DE-47ED-A310-B2D461F964CB}"/>
              </a:ext>
            </a:extLst>
          </p:cNvPr>
          <p:cNvSpPr>
            <a:spLocks noGrp="1"/>
          </p:cNvSpPr>
          <p:nvPr>
            <p:ph type="body" orient="vert" idx="23" hasCustomPrompt="1"/>
          </p:nvPr>
        </p:nvSpPr>
        <p:spPr>
          <a:xfrm>
            <a:off x="909518" y="907278"/>
            <a:ext cx="949099" cy="693443"/>
          </a:xfrm>
        </p:spPr>
        <p:txBody>
          <a:bodyPr vert="horz" lIns="0" tIns="0" rIns="0" bIns="0"/>
          <a:lstStyle>
            <a:lvl1pPr marL="0" indent="0">
              <a:buNone/>
              <a:defRPr sz="4000" b="1">
                <a:solidFill>
                  <a:schemeClr val="accent2"/>
                </a:solidFill>
              </a:defRPr>
            </a:lvl1pPr>
            <a:lvl2pPr marL="217488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3.0</a:t>
            </a:r>
          </a:p>
        </p:txBody>
      </p:sp>
      <p:sp>
        <p:nvSpPr>
          <p:cNvPr id="31" name="Tijdelijke aanduiding voor tekst 19">
            <a:extLst>
              <a:ext uri="{FF2B5EF4-FFF2-40B4-BE49-F238E27FC236}">
                <a16:creationId xmlns:a16="http://schemas.microsoft.com/office/drawing/2014/main" id="{B6BBE29C-90AA-4C5F-A5EF-7FBD723A9B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6836" y="6421632"/>
            <a:ext cx="1355493" cy="118704"/>
          </a:xfrm>
          <a:prstGeom prst="rect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10141" b="7644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3" name="Tijdelijke aanduiding voor dianummer 4">
            <a:extLst>
              <a:ext uri="{FF2B5EF4-FFF2-40B4-BE49-F238E27FC236}">
                <a16:creationId xmlns:a16="http://schemas.microsoft.com/office/drawing/2014/main" id="{F506CC3A-4CD9-4F07-8CB9-8A69838E6C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680" y="6274117"/>
            <a:ext cx="44204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809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304653E-B7DE-471A-88A2-46959598AE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2382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304653E-B7DE-471A-88A2-46959598AE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B716FA18-4C5B-4F29-B345-02C354E007C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>
              <a:latin typeface="Source Sans Pro" panose="020B0503030403020204" pitchFamily="34" charset="0"/>
              <a:ea typeface="+mj-ea"/>
              <a:cs typeface="+mj-cs"/>
              <a:sym typeface="Source Sans Pro" panose="020B0503030403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r>
              <a:rPr lang="en-US" noProof="0"/>
              <a:t>Add a slide title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horz" lIns="0" tIns="0" rIns="0" b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here to add text. Need additional help? PPT Solutions has added extra instructions to the sides of the slides to help style- and process your text.</a:t>
            </a:r>
          </a:p>
          <a:p>
            <a:pPr lvl="1"/>
            <a:r>
              <a:rPr lang="en-US" noProof="0"/>
              <a:t>Sub-bullet</a:t>
            </a:r>
          </a:p>
          <a:p>
            <a:pPr lvl="2"/>
            <a:r>
              <a:rPr lang="en-US" noProof="0"/>
              <a:t>Default text</a:t>
            </a:r>
          </a:p>
          <a:p>
            <a:pPr lvl="3"/>
            <a:r>
              <a:rPr lang="en-US" noProof="0"/>
              <a:t>Subtitle</a:t>
            </a:r>
          </a:p>
          <a:p>
            <a:pPr lvl="4"/>
            <a:r>
              <a:rPr lang="en-US" noProof="0"/>
              <a:t>Numerical bullet</a:t>
            </a:r>
          </a:p>
          <a:p>
            <a:pPr lvl="5"/>
            <a:r>
              <a:rPr lang="en-US" noProof="0"/>
              <a:t>Bullet</a:t>
            </a:r>
          </a:p>
          <a:p>
            <a:pPr lvl="6"/>
            <a:r>
              <a:rPr lang="en-US" noProof="0"/>
              <a:t>Sub-bullet</a:t>
            </a:r>
          </a:p>
          <a:p>
            <a:pPr lvl="7"/>
            <a:r>
              <a:rPr lang="en-US" noProof="0"/>
              <a:t>Default text</a:t>
            </a:r>
          </a:p>
          <a:p>
            <a:pPr lvl="8"/>
            <a:r>
              <a:rPr lang="en-US" noProof="0"/>
              <a:t>Subtitle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en-US" smtClean="0"/>
              <a:t>‹N›</a:t>
            </a:fld>
            <a:endParaRPr lang="en-US"/>
          </a:p>
        </p:txBody>
      </p:sp>
      <p:sp>
        <p:nvSpPr>
          <p:cNvPr id="7" name="Tekstvak 6"/>
          <p:cNvSpPr txBox="1"/>
          <p:nvPr userDrawn="1"/>
        </p:nvSpPr>
        <p:spPr>
          <a:xfrm>
            <a:off x="-10750" y="-662296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914400" rtl="0" eaLnBrk="1" latinLnBrk="0" hangingPunct="1"/>
            <a:r>
              <a:rPr lang="en-US" sz="2400" b="0" kern="1200" spc="50" baseline="0">
                <a:solidFill>
                  <a:schemeClr val="accent2"/>
                </a:solidFill>
                <a:latin typeface="+mj-lt"/>
                <a:ea typeface="+mn-ea"/>
                <a:cs typeface="Calibri" panose="020F0502020204030204" pitchFamily="34" charset="0"/>
              </a:rPr>
              <a:t>Text</a:t>
            </a:r>
          </a:p>
        </p:txBody>
      </p:sp>
      <p:sp>
        <p:nvSpPr>
          <p:cNvPr id="9" name="Tijdelijke aanduiding voor verticale tekst 2">
            <a:extLst>
              <a:ext uri="{FF2B5EF4-FFF2-40B4-BE49-F238E27FC236}">
                <a16:creationId xmlns:a16="http://schemas.microsoft.com/office/drawing/2014/main" id="{52B88F22-351D-4D36-8E9E-D2B3217E4656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977238" y="992477"/>
            <a:ext cx="10653442" cy="384511"/>
          </a:xfrm>
        </p:spPr>
        <p:txBody>
          <a:bodyPr vert="horz" lIns="0" tIns="0" bIns="0" anchor="t"/>
          <a:lstStyle>
            <a:lvl1pPr marL="0" indent="0">
              <a:buNone/>
              <a:defRPr sz="3000">
                <a:solidFill>
                  <a:schemeClr val="accent2"/>
                </a:solidFill>
              </a:defRPr>
            </a:lvl1pPr>
            <a:lvl2pPr marL="217488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316423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lines + fixed imag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Tijdelijke aanduiding voor afbeelding 19">
            <a:extLst>
              <a:ext uri="{FF2B5EF4-FFF2-40B4-BE49-F238E27FC236}">
                <a16:creationId xmlns:a16="http://schemas.microsoft.com/office/drawing/2014/main" id="{DC5BAAD9-BE87-4879-886D-2509EB45A6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t="1" b="1"/>
          <a:stretch>
            <a:fillRect/>
          </a:stretch>
        </p:blipFill>
        <p:spPr>
          <a:xfrm>
            <a:off x="-5376" y="1434"/>
            <a:ext cx="12202751" cy="6856567"/>
          </a:xfrm>
          <a:prstGeom prst="rect">
            <a:avLst/>
          </a:prstGeom>
        </p:spPr>
      </p:pic>
      <p:sp>
        <p:nvSpPr>
          <p:cNvPr id="22" name="Tijdelijke aanduiding voor tekst 21">
            <a:extLst>
              <a:ext uri="{FF2B5EF4-FFF2-40B4-BE49-F238E27FC236}">
                <a16:creationId xmlns:a16="http://schemas.microsoft.com/office/drawing/2014/main" id="{002D0498-94A0-40FD-B973-91622C2A79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11113" y="-1"/>
            <a:ext cx="7289277" cy="4827069"/>
          </a:xfrm>
          <a:custGeom>
            <a:avLst/>
            <a:gdLst>
              <a:gd name="connsiteX0" fmla="*/ 0 w 7289277"/>
              <a:gd name="connsiteY0" fmla="*/ 0 h 4827069"/>
              <a:gd name="connsiteX1" fmla="*/ 6313176 w 7289277"/>
              <a:gd name="connsiteY1" fmla="*/ 0 h 4827069"/>
              <a:gd name="connsiteX2" fmla="*/ 6420957 w 7289277"/>
              <a:gd name="connsiteY2" fmla="*/ 202272 h 4827069"/>
              <a:gd name="connsiteX3" fmla="*/ 7221911 w 7289277"/>
              <a:gd name="connsiteY3" fmla="*/ 2391463 h 4827069"/>
              <a:gd name="connsiteX4" fmla="*/ 7283962 w 7289277"/>
              <a:gd name="connsiteY4" fmla="*/ 2668064 h 4827069"/>
              <a:gd name="connsiteX5" fmla="*/ 7123985 w 7289277"/>
              <a:gd name="connsiteY5" fmla="*/ 2926435 h 4827069"/>
              <a:gd name="connsiteX6" fmla="*/ 6852583 w 7289277"/>
              <a:gd name="connsiteY6" fmla="*/ 2993100 h 4827069"/>
              <a:gd name="connsiteX7" fmla="*/ 0 w 7289277"/>
              <a:gd name="connsiteY7" fmla="*/ 4827069 h 48270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89277" h="4827069">
                <a:moveTo>
                  <a:pt x="0" y="0"/>
                </a:moveTo>
                <a:lnTo>
                  <a:pt x="6313176" y="0"/>
                </a:lnTo>
                <a:lnTo>
                  <a:pt x="6420957" y="202272"/>
                </a:lnTo>
                <a:cubicBezTo>
                  <a:pt x="6790939" y="925501"/>
                  <a:pt x="7057384" y="1656342"/>
                  <a:pt x="7221911" y="2391463"/>
                </a:cubicBezTo>
                <a:lnTo>
                  <a:pt x="7283962" y="2668064"/>
                </a:lnTo>
                <a:cubicBezTo>
                  <a:pt x="7309846" y="2783440"/>
                  <a:pt x="7238751" y="2898232"/>
                  <a:pt x="7123985" y="2926435"/>
                </a:cubicBezTo>
                <a:lnTo>
                  <a:pt x="6852583" y="2993100"/>
                </a:lnTo>
                <a:lnTo>
                  <a:pt x="0" y="482706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5" name="Titel 5">
            <a:extLst>
              <a:ext uri="{FF2B5EF4-FFF2-40B4-BE49-F238E27FC236}">
                <a16:creationId xmlns:a16="http://schemas.microsoft.com/office/drawing/2014/main" id="{20DBEB7A-7FB1-4F46-90EC-A1F387B9FD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9517" y="1298686"/>
            <a:ext cx="5651923" cy="1141855"/>
          </a:xfrm>
        </p:spPr>
        <p:txBody>
          <a:bodyPr/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GB" noProof="0"/>
              <a:t>Template for  a long title</a:t>
            </a:r>
            <a:br>
              <a:rPr lang="en-GB" noProof="0"/>
            </a:br>
            <a:r>
              <a:rPr lang="en-GB" noProof="0"/>
              <a:t>over two lines</a:t>
            </a:r>
            <a:endParaRPr lang="en-GB"/>
          </a:p>
        </p:txBody>
      </p:sp>
      <p:sp>
        <p:nvSpPr>
          <p:cNvPr id="77" name="Tijdelijke aanduiding voor tekst 19">
            <a:extLst>
              <a:ext uri="{FF2B5EF4-FFF2-40B4-BE49-F238E27FC236}">
                <a16:creationId xmlns:a16="http://schemas.microsoft.com/office/drawing/2014/main" id="{3C679BF6-C6F0-4DA8-9300-B2D0B37F8B8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1339" y="899559"/>
            <a:ext cx="1369048" cy="122301"/>
          </a:xfrm>
          <a:prstGeom prst="rect">
            <a:avLst/>
          </a:prstGeom>
          <a:blipFill>
            <a:blip r:embed="rId3"/>
            <a:srcRect/>
            <a:stretch>
              <a:fillRect t="10141" b="7644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79" name="Tijdelijke aanduiding voor dianummer 4">
            <a:extLst>
              <a:ext uri="{FF2B5EF4-FFF2-40B4-BE49-F238E27FC236}">
                <a16:creationId xmlns:a16="http://schemas.microsoft.com/office/drawing/2014/main" id="{A5EA1BA3-A1A9-47E2-A2BA-0783A0E97F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681" y="6274118"/>
            <a:ext cx="44204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80" name="Tijdelijke aanduiding voor verticale tekst 2">
            <a:extLst>
              <a:ext uri="{FF2B5EF4-FFF2-40B4-BE49-F238E27FC236}">
                <a16:creationId xmlns:a16="http://schemas.microsoft.com/office/drawing/2014/main" id="{394B27AD-91EE-473F-856A-DDBF1BAA26EC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899789" y="2612275"/>
            <a:ext cx="5661651" cy="267480"/>
          </a:xfrm>
        </p:spPr>
        <p:txBody>
          <a:bodyPr vert="horz" lIns="0" tIns="0" rIns="0" bIns="0"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  <a:lvl2pPr marL="217483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 algn="l"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Name | function</a:t>
            </a:r>
          </a:p>
        </p:txBody>
      </p:sp>
      <p:sp>
        <p:nvSpPr>
          <p:cNvPr id="81" name="Tijdelijke aanduiding voor verticale tekst 2">
            <a:extLst>
              <a:ext uri="{FF2B5EF4-FFF2-40B4-BE49-F238E27FC236}">
                <a16:creationId xmlns:a16="http://schemas.microsoft.com/office/drawing/2014/main" id="{EDF8A1BB-2E96-402A-B384-667B50F2970C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899788" y="3038892"/>
            <a:ext cx="1694000" cy="183397"/>
          </a:xfrm>
        </p:spPr>
        <p:txBody>
          <a:bodyPr vert="horz" lIns="0" tIns="0" rIns="0" bIns="0" anchor="ctr"/>
          <a:lstStyle>
            <a:lvl1pPr marL="0" indent="0">
              <a:buNone/>
              <a:defRPr sz="1100">
                <a:solidFill>
                  <a:schemeClr val="accent2"/>
                </a:solidFill>
              </a:defRPr>
            </a:lvl1pPr>
            <a:lvl2pPr marL="217483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Location</a:t>
            </a:r>
          </a:p>
        </p:txBody>
      </p:sp>
      <p:sp>
        <p:nvSpPr>
          <p:cNvPr id="82" name="Tijdelijke aanduiding voor verticale tekst 2">
            <a:extLst>
              <a:ext uri="{FF2B5EF4-FFF2-40B4-BE49-F238E27FC236}">
                <a16:creationId xmlns:a16="http://schemas.microsoft.com/office/drawing/2014/main" id="{F29DECF9-2F7C-4466-864E-B3BDDE84DDB2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99788" y="3233487"/>
            <a:ext cx="1694000" cy="183397"/>
          </a:xfrm>
        </p:spPr>
        <p:txBody>
          <a:bodyPr vert="horz" lIns="0" tIns="0" rIns="0" bIns="0" anchor="ctr"/>
          <a:lstStyle>
            <a:lvl1pPr marL="0" indent="0">
              <a:buNone/>
              <a:defRPr sz="1100">
                <a:solidFill>
                  <a:schemeClr val="accent2"/>
                </a:solidFill>
              </a:defRPr>
            </a:lvl1pPr>
            <a:lvl2pPr marL="217483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944500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9622D3-8979-4108-A046-918C03ABB2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8762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89622D3-8979-4108-A046-918C03ABB2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7290EEA-165B-430A-8E75-86B4AE3DBCF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>
              <a:latin typeface="Source Sans Pro" panose="020B0503030403020204" pitchFamily="34" charset="0"/>
              <a:ea typeface="+mj-ea"/>
              <a:cs typeface="+mj-cs"/>
              <a:sym typeface="Source Sans Pro" panose="020B0503030403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r>
              <a:rPr lang="en-US" noProof="0"/>
              <a:t>Add a slide title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977280" y="2134901"/>
            <a:ext cx="2899395" cy="3462156"/>
          </a:xfrm>
        </p:spPr>
        <p:txBody>
          <a:bodyPr vert="horz" lIns="0" tIns="0" rIns="0" bIns="0" anchor="t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 marL="0" indent="0">
              <a:buNone/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here to add text. Need additional help? PPT Solutions has added extra instructions to the sides of the slides to help style- and process your text.</a:t>
            </a:r>
          </a:p>
          <a:p>
            <a:pPr lvl="1"/>
            <a:r>
              <a:rPr lang="en-US" noProof="0"/>
              <a:t>Sub-bullet</a:t>
            </a:r>
          </a:p>
          <a:p>
            <a:pPr lvl="2"/>
            <a:r>
              <a:rPr lang="en-US" noProof="0"/>
              <a:t>Default text</a:t>
            </a:r>
          </a:p>
          <a:p>
            <a:pPr lvl="3"/>
            <a:r>
              <a:rPr lang="en-US" noProof="0"/>
              <a:t>Subtitle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en-US" smtClean="0"/>
              <a:t>‹N›</a:t>
            </a:fld>
            <a:endParaRPr lang="en-US"/>
          </a:p>
        </p:txBody>
      </p:sp>
      <p:sp>
        <p:nvSpPr>
          <p:cNvPr id="7" name="Tekstvak 6"/>
          <p:cNvSpPr txBox="1"/>
          <p:nvPr userDrawn="1"/>
        </p:nvSpPr>
        <p:spPr>
          <a:xfrm>
            <a:off x="-10750" y="-662296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914400" rtl="0" eaLnBrk="1" latinLnBrk="0" hangingPunct="1"/>
            <a:r>
              <a:rPr lang="en-US" sz="2400" b="0" kern="1200" spc="50" baseline="0">
                <a:solidFill>
                  <a:schemeClr val="accent2"/>
                </a:solidFill>
                <a:latin typeface="+mj-lt"/>
                <a:ea typeface="+mn-ea"/>
                <a:cs typeface="Calibri" panose="020F0502020204030204" pitchFamily="34" charset="0"/>
              </a:rPr>
              <a:t>3x Text</a:t>
            </a:r>
          </a:p>
        </p:txBody>
      </p:sp>
      <p:sp>
        <p:nvSpPr>
          <p:cNvPr id="11" name="Tijdelijke aanduiding voor verticale tekst 2">
            <a:extLst>
              <a:ext uri="{FF2B5EF4-FFF2-40B4-BE49-F238E27FC236}">
                <a16:creationId xmlns:a16="http://schemas.microsoft.com/office/drawing/2014/main" id="{0857A28D-AA7A-4ED6-AB25-2ECF9E94026B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4196730" y="2134901"/>
            <a:ext cx="2899395" cy="3462156"/>
          </a:xfrm>
        </p:spPr>
        <p:txBody>
          <a:bodyPr vert="horz" lIns="0" tIns="0" rIns="0" bIns="0" anchor="t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 marL="0" indent="0">
              <a:buNone/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here to add text. Need additional help? PPT Solutions has added extra instructions to the sides of the slides to help style- and process your text.</a:t>
            </a:r>
          </a:p>
          <a:p>
            <a:pPr lvl="1"/>
            <a:r>
              <a:rPr lang="en-US" noProof="0"/>
              <a:t>Sub-bullet</a:t>
            </a:r>
          </a:p>
          <a:p>
            <a:pPr lvl="2"/>
            <a:r>
              <a:rPr lang="en-US" noProof="0"/>
              <a:t>Default text</a:t>
            </a:r>
          </a:p>
          <a:p>
            <a:pPr lvl="3"/>
            <a:r>
              <a:rPr lang="en-US" noProof="0"/>
              <a:t>Subtitle</a:t>
            </a:r>
          </a:p>
        </p:txBody>
      </p:sp>
      <p:sp>
        <p:nvSpPr>
          <p:cNvPr id="12" name="Tijdelijke aanduiding voor verticale tekst 2">
            <a:extLst>
              <a:ext uri="{FF2B5EF4-FFF2-40B4-BE49-F238E27FC236}">
                <a16:creationId xmlns:a16="http://schemas.microsoft.com/office/drawing/2014/main" id="{CC7F45C4-2D4A-4692-8E7E-CB7E7271137A}"/>
              </a:ext>
            </a:extLst>
          </p:cNvPr>
          <p:cNvSpPr>
            <a:spLocks noGrp="1"/>
          </p:cNvSpPr>
          <p:nvPr>
            <p:ph type="body" orient="vert" idx="14" hasCustomPrompt="1"/>
          </p:nvPr>
        </p:nvSpPr>
        <p:spPr>
          <a:xfrm>
            <a:off x="7454280" y="2134901"/>
            <a:ext cx="2899395" cy="3462156"/>
          </a:xfrm>
        </p:spPr>
        <p:txBody>
          <a:bodyPr vert="horz" lIns="0" tIns="0" rIns="0" bIns="0" anchor="t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 marL="0" indent="0">
              <a:buNone/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here to add text. Need additional help? PPT Solutions has added extra instructions to the sides of the slides to help style- and process your text.</a:t>
            </a:r>
          </a:p>
          <a:p>
            <a:pPr lvl="1"/>
            <a:r>
              <a:rPr lang="en-US" noProof="0"/>
              <a:t>Sub-bullet</a:t>
            </a:r>
          </a:p>
          <a:p>
            <a:pPr lvl="2"/>
            <a:r>
              <a:rPr lang="en-US" noProof="0"/>
              <a:t>Default text</a:t>
            </a:r>
          </a:p>
          <a:p>
            <a:pPr lvl="3"/>
            <a:r>
              <a:rPr lang="en-US" noProof="0"/>
              <a:t>Subtitle</a:t>
            </a:r>
          </a:p>
        </p:txBody>
      </p:sp>
      <p:sp>
        <p:nvSpPr>
          <p:cNvPr id="14" name="Tijdelijke aanduiding voor verticale tekst 2">
            <a:extLst>
              <a:ext uri="{FF2B5EF4-FFF2-40B4-BE49-F238E27FC236}">
                <a16:creationId xmlns:a16="http://schemas.microsoft.com/office/drawing/2014/main" id="{04B104BE-8A4B-4268-BAB6-677522764D0F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977238" y="992477"/>
            <a:ext cx="10653442" cy="384511"/>
          </a:xfrm>
        </p:spPr>
        <p:txBody>
          <a:bodyPr vert="horz" lIns="0" tIns="0" bIns="0" anchor="t"/>
          <a:lstStyle>
            <a:lvl1pPr marL="0" indent="0">
              <a:buNone/>
              <a:defRPr sz="3000">
                <a:solidFill>
                  <a:schemeClr val="accent2"/>
                </a:solidFill>
              </a:defRPr>
            </a:lvl1pPr>
            <a:lvl2pPr marL="217488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197361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708B9A2-4926-4D7C-906B-CFB5209EEA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5178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708B9A2-4926-4D7C-906B-CFB5209EEA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C28D29FC-0AA4-470E-9BDA-C7EF5C11978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>
              <a:latin typeface="Source Sans Pro" panose="020B0503030403020204" pitchFamily="34" charset="0"/>
              <a:ea typeface="+mj-ea"/>
              <a:cs typeface="+mj-cs"/>
              <a:sym typeface="Source Sans Pro" panose="020B0503030403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r>
              <a:rPr lang="en-US" noProof="0"/>
              <a:t>Add a slide title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2021106" y="2178099"/>
            <a:ext cx="3794745" cy="1002634"/>
          </a:xfrm>
        </p:spPr>
        <p:txBody>
          <a:bodyPr vert="horz" lIns="0" tIns="0" rIns="0" bIns="0" anchor="t"/>
          <a:lstStyle>
            <a:lvl1pPr marL="0" indent="0">
              <a:lnSpc>
                <a:spcPct val="70000"/>
              </a:lnSpc>
              <a:buNone/>
              <a:defRPr sz="2000"/>
            </a:lvl1pPr>
            <a:lvl2pPr marL="217488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Place your text here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en-US" smtClean="0"/>
              <a:t>‹N›</a:t>
            </a:fld>
            <a:endParaRPr lang="en-US"/>
          </a:p>
        </p:txBody>
      </p:sp>
      <p:sp>
        <p:nvSpPr>
          <p:cNvPr id="7" name="Tekstvak 6"/>
          <p:cNvSpPr txBox="1"/>
          <p:nvPr userDrawn="1"/>
        </p:nvSpPr>
        <p:spPr>
          <a:xfrm>
            <a:off x="-10750" y="-662296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914400" rtl="0" eaLnBrk="1" latinLnBrk="0" hangingPunct="1"/>
            <a:r>
              <a:rPr lang="en-US" sz="2400" b="0" kern="1200" spc="50" baseline="0">
                <a:solidFill>
                  <a:schemeClr val="accent2"/>
                </a:solidFill>
                <a:latin typeface="+mj-lt"/>
                <a:ea typeface="+mn-ea"/>
                <a:cs typeface="Calibri" panose="020F0502020204030204" pitchFamily="34" charset="0"/>
              </a:rPr>
              <a:t>Trends</a:t>
            </a:r>
          </a:p>
        </p:txBody>
      </p:sp>
      <p:sp>
        <p:nvSpPr>
          <p:cNvPr id="14" name="Tijdelijke aanduiding voor verticale tekst 2">
            <a:extLst>
              <a:ext uri="{FF2B5EF4-FFF2-40B4-BE49-F238E27FC236}">
                <a16:creationId xmlns:a16="http://schemas.microsoft.com/office/drawing/2014/main" id="{F0C786C0-9CA0-4949-A72E-59C8A44B393B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977238" y="992477"/>
            <a:ext cx="10653442" cy="384511"/>
          </a:xfrm>
        </p:spPr>
        <p:txBody>
          <a:bodyPr vert="horz" lIns="0" tIns="0" bIns="0" anchor="t"/>
          <a:lstStyle>
            <a:lvl1pPr marL="0" indent="0">
              <a:buNone/>
              <a:defRPr sz="3000">
                <a:solidFill>
                  <a:schemeClr val="accent2"/>
                </a:solidFill>
              </a:defRPr>
            </a:lvl1pPr>
            <a:lvl2pPr marL="217488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19" name="Graphic 12">
            <a:extLst>
              <a:ext uri="{FF2B5EF4-FFF2-40B4-BE49-F238E27FC236}">
                <a16:creationId xmlns:a16="http://schemas.microsoft.com/office/drawing/2014/main" id="{DF44CEDB-DD5F-47F8-A161-A399C0D9EB4B}"/>
              </a:ext>
            </a:extLst>
          </p:cNvPr>
          <p:cNvSpPr/>
          <p:nvPr userDrawn="1"/>
        </p:nvSpPr>
        <p:spPr>
          <a:xfrm rot="4740000" flipV="1">
            <a:off x="1265400" y="1798295"/>
            <a:ext cx="613296" cy="653046"/>
          </a:xfrm>
          <a:custGeom>
            <a:avLst/>
            <a:gdLst>
              <a:gd name="connsiteX0" fmla="*/ 3288083 w 5210478"/>
              <a:gd name="connsiteY0" fmla="*/ 28935 h 5548193"/>
              <a:gd name="connsiteX1" fmla="*/ 3167591 w 5210478"/>
              <a:gd name="connsiteY1" fmla="*/ 130757 h 5548193"/>
              <a:gd name="connsiteX2" fmla="*/ 45391 w 5210478"/>
              <a:gd name="connsiteY2" fmla="*/ 2660597 h 5548193"/>
              <a:gd name="connsiteX3" fmla="*/ 2529 w 5210478"/>
              <a:gd name="connsiteY3" fmla="*/ 2780612 h 5548193"/>
              <a:gd name="connsiteX4" fmla="*/ 556027 w 5210478"/>
              <a:gd name="connsiteY4" fmla="*/ 5450565 h 5548193"/>
              <a:gd name="connsiteX5" fmla="*/ 700807 w 5210478"/>
              <a:gd name="connsiteY5" fmla="*/ 5545624 h 5548193"/>
              <a:gd name="connsiteX6" fmla="*/ 5112787 w 5210478"/>
              <a:gd name="connsiteY6" fmla="*/ 4631415 h 5548193"/>
              <a:gd name="connsiteX7" fmla="*/ 5207846 w 5210478"/>
              <a:gd name="connsiteY7" fmla="*/ 4486350 h 5548193"/>
              <a:gd name="connsiteX8" fmla="*/ 4907333 w 5210478"/>
              <a:gd name="connsiteY8" fmla="*/ 3052265 h 5548193"/>
              <a:gd name="connsiteX9" fmla="*/ 3564879 w 5210478"/>
              <a:gd name="connsiteY9" fmla="*/ 161713 h 5548193"/>
              <a:gd name="connsiteX10" fmla="*/ 3459152 w 5210478"/>
              <a:gd name="connsiteY10" fmla="*/ 41603 h 5548193"/>
              <a:gd name="connsiteX11" fmla="*/ 3288083 w 5210478"/>
              <a:gd name="connsiteY11" fmla="*/ 28935 h 5548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210478" h="5548193">
                <a:moveTo>
                  <a:pt x="3288083" y="28935"/>
                </a:moveTo>
                <a:lnTo>
                  <a:pt x="3167591" y="130757"/>
                </a:lnTo>
                <a:lnTo>
                  <a:pt x="45391" y="2660597"/>
                </a:lnTo>
                <a:cubicBezTo>
                  <a:pt x="9768" y="2689458"/>
                  <a:pt x="-6710" y="2735750"/>
                  <a:pt x="2529" y="2780612"/>
                </a:cubicBezTo>
                <a:lnTo>
                  <a:pt x="556027" y="5450565"/>
                </a:lnTo>
                <a:cubicBezTo>
                  <a:pt x="569743" y="5516764"/>
                  <a:pt x="634608" y="5559340"/>
                  <a:pt x="700807" y="5545624"/>
                </a:cubicBezTo>
                <a:lnTo>
                  <a:pt x="5112787" y="4631415"/>
                </a:lnTo>
                <a:cubicBezTo>
                  <a:pt x="5179176" y="4617699"/>
                  <a:pt x="5221753" y="4552643"/>
                  <a:pt x="5207846" y="4486350"/>
                </a:cubicBezTo>
                <a:lnTo>
                  <a:pt x="4907333" y="3052265"/>
                </a:lnTo>
                <a:cubicBezTo>
                  <a:pt x="4663112" y="1855925"/>
                  <a:pt x="4207436" y="890947"/>
                  <a:pt x="3564879" y="161713"/>
                </a:cubicBezTo>
                <a:lnTo>
                  <a:pt x="3459152" y="41603"/>
                </a:lnTo>
                <a:cubicBezTo>
                  <a:pt x="3415051" y="-8498"/>
                  <a:pt x="3339041" y="-14118"/>
                  <a:pt x="3288083" y="28935"/>
                </a:cubicBezTo>
                <a:close/>
              </a:path>
            </a:pathLst>
          </a:custGeom>
          <a:solidFill>
            <a:schemeClr val="accent5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0" name="Graphic 12">
            <a:extLst>
              <a:ext uri="{FF2B5EF4-FFF2-40B4-BE49-F238E27FC236}">
                <a16:creationId xmlns:a16="http://schemas.microsoft.com/office/drawing/2014/main" id="{AC45DC5C-AF4F-4834-88EB-88700B279197}"/>
              </a:ext>
            </a:extLst>
          </p:cNvPr>
          <p:cNvSpPr/>
          <p:nvPr userDrawn="1"/>
        </p:nvSpPr>
        <p:spPr>
          <a:xfrm rot="4740000" flipV="1">
            <a:off x="1265400" y="2834386"/>
            <a:ext cx="613296" cy="653046"/>
          </a:xfrm>
          <a:custGeom>
            <a:avLst/>
            <a:gdLst>
              <a:gd name="connsiteX0" fmla="*/ 3288083 w 5210478"/>
              <a:gd name="connsiteY0" fmla="*/ 28935 h 5548193"/>
              <a:gd name="connsiteX1" fmla="*/ 3167591 w 5210478"/>
              <a:gd name="connsiteY1" fmla="*/ 130757 h 5548193"/>
              <a:gd name="connsiteX2" fmla="*/ 45391 w 5210478"/>
              <a:gd name="connsiteY2" fmla="*/ 2660597 h 5548193"/>
              <a:gd name="connsiteX3" fmla="*/ 2529 w 5210478"/>
              <a:gd name="connsiteY3" fmla="*/ 2780612 h 5548193"/>
              <a:gd name="connsiteX4" fmla="*/ 556027 w 5210478"/>
              <a:gd name="connsiteY4" fmla="*/ 5450565 h 5548193"/>
              <a:gd name="connsiteX5" fmla="*/ 700807 w 5210478"/>
              <a:gd name="connsiteY5" fmla="*/ 5545624 h 5548193"/>
              <a:gd name="connsiteX6" fmla="*/ 5112787 w 5210478"/>
              <a:gd name="connsiteY6" fmla="*/ 4631415 h 5548193"/>
              <a:gd name="connsiteX7" fmla="*/ 5207846 w 5210478"/>
              <a:gd name="connsiteY7" fmla="*/ 4486350 h 5548193"/>
              <a:gd name="connsiteX8" fmla="*/ 4907333 w 5210478"/>
              <a:gd name="connsiteY8" fmla="*/ 3052265 h 5548193"/>
              <a:gd name="connsiteX9" fmla="*/ 3564879 w 5210478"/>
              <a:gd name="connsiteY9" fmla="*/ 161713 h 5548193"/>
              <a:gd name="connsiteX10" fmla="*/ 3459152 w 5210478"/>
              <a:gd name="connsiteY10" fmla="*/ 41603 h 5548193"/>
              <a:gd name="connsiteX11" fmla="*/ 3288083 w 5210478"/>
              <a:gd name="connsiteY11" fmla="*/ 28935 h 5548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210478" h="5548193">
                <a:moveTo>
                  <a:pt x="3288083" y="28935"/>
                </a:moveTo>
                <a:lnTo>
                  <a:pt x="3167591" y="130757"/>
                </a:lnTo>
                <a:lnTo>
                  <a:pt x="45391" y="2660597"/>
                </a:lnTo>
                <a:cubicBezTo>
                  <a:pt x="9768" y="2689458"/>
                  <a:pt x="-6710" y="2735750"/>
                  <a:pt x="2529" y="2780612"/>
                </a:cubicBezTo>
                <a:lnTo>
                  <a:pt x="556027" y="5450565"/>
                </a:lnTo>
                <a:cubicBezTo>
                  <a:pt x="569743" y="5516764"/>
                  <a:pt x="634608" y="5559340"/>
                  <a:pt x="700807" y="5545624"/>
                </a:cubicBezTo>
                <a:lnTo>
                  <a:pt x="5112787" y="4631415"/>
                </a:lnTo>
                <a:cubicBezTo>
                  <a:pt x="5179176" y="4617699"/>
                  <a:pt x="5221753" y="4552643"/>
                  <a:pt x="5207846" y="4486350"/>
                </a:cubicBezTo>
                <a:lnTo>
                  <a:pt x="4907333" y="3052265"/>
                </a:lnTo>
                <a:cubicBezTo>
                  <a:pt x="4663112" y="1855925"/>
                  <a:pt x="4207436" y="890947"/>
                  <a:pt x="3564879" y="161713"/>
                </a:cubicBezTo>
                <a:lnTo>
                  <a:pt x="3459152" y="41603"/>
                </a:lnTo>
                <a:cubicBezTo>
                  <a:pt x="3415051" y="-8498"/>
                  <a:pt x="3339041" y="-14118"/>
                  <a:pt x="3288083" y="28935"/>
                </a:cubicBez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1" name="Graphic 12">
            <a:extLst>
              <a:ext uri="{FF2B5EF4-FFF2-40B4-BE49-F238E27FC236}">
                <a16:creationId xmlns:a16="http://schemas.microsoft.com/office/drawing/2014/main" id="{F2025E92-DF14-4B48-8687-6C097353B62B}"/>
              </a:ext>
            </a:extLst>
          </p:cNvPr>
          <p:cNvSpPr/>
          <p:nvPr userDrawn="1"/>
        </p:nvSpPr>
        <p:spPr>
          <a:xfrm rot="4740000" flipV="1">
            <a:off x="6670881" y="1798296"/>
            <a:ext cx="613296" cy="653046"/>
          </a:xfrm>
          <a:custGeom>
            <a:avLst/>
            <a:gdLst>
              <a:gd name="connsiteX0" fmla="*/ 3288083 w 5210478"/>
              <a:gd name="connsiteY0" fmla="*/ 28935 h 5548193"/>
              <a:gd name="connsiteX1" fmla="*/ 3167591 w 5210478"/>
              <a:gd name="connsiteY1" fmla="*/ 130757 h 5548193"/>
              <a:gd name="connsiteX2" fmla="*/ 45391 w 5210478"/>
              <a:gd name="connsiteY2" fmla="*/ 2660597 h 5548193"/>
              <a:gd name="connsiteX3" fmla="*/ 2529 w 5210478"/>
              <a:gd name="connsiteY3" fmla="*/ 2780612 h 5548193"/>
              <a:gd name="connsiteX4" fmla="*/ 556027 w 5210478"/>
              <a:gd name="connsiteY4" fmla="*/ 5450565 h 5548193"/>
              <a:gd name="connsiteX5" fmla="*/ 700807 w 5210478"/>
              <a:gd name="connsiteY5" fmla="*/ 5545624 h 5548193"/>
              <a:gd name="connsiteX6" fmla="*/ 5112787 w 5210478"/>
              <a:gd name="connsiteY6" fmla="*/ 4631415 h 5548193"/>
              <a:gd name="connsiteX7" fmla="*/ 5207846 w 5210478"/>
              <a:gd name="connsiteY7" fmla="*/ 4486350 h 5548193"/>
              <a:gd name="connsiteX8" fmla="*/ 4907333 w 5210478"/>
              <a:gd name="connsiteY8" fmla="*/ 3052265 h 5548193"/>
              <a:gd name="connsiteX9" fmla="*/ 3564879 w 5210478"/>
              <a:gd name="connsiteY9" fmla="*/ 161713 h 5548193"/>
              <a:gd name="connsiteX10" fmla="*/ 3459152 w 5210478"/>
              <a:gd name="connsiteY10" fmla="*/ 41603 h 5548193"/>
              <a:gd name="connsiteX11" fmla="*/ 3288083 w 5210478"/>
              <a:gd name="connsiteY11" fmla="*/ 28935 h 5548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210478" h="5548193">
                <a:moveTo>
                  <a:pt x="3288083" y="28935"/>
                </a:moveTo>
                <a:lnTo>
                  <a:pt x="3167591" y="130757"/>
                </a:lnTo>
                <a:lnTo>
                  <a:pt x="45391" y="2660597"/>
                </a:lnTo>
                <a:cubicBezTo>
                  <a:pt x="9768" y="2689458"/>
                  <a:pt x="-6710" y="2735750"/>
                  <a:pt x="2529" y="2780612"/>
                </a:cubicBezTo>
                <a:lnTo>
                  <a:pt x="556027" y="5450565"/>
                </a:lnTo>
                <a:cubicBezTo>
                  <a:pt x="569743" y="5516764"/>
                  <a:pt x="634608" y="5559340"/>
                  <a:pt x="700807" y="5545624"/>
                </a:cubicBezTo>
                <a:lnTo>
                  <a:pt x="5112787" y="4631415"/>
                </a:lnTo>
                <a:cubicBezTo>
                  <a:pt x="5179176" y="4617699"/>
                  <a:pt x="5221753" y="4552643"/>
                  <a:pt x="5207846" y="4486350"/>
                </a:cubicBezTo>
                <a:lnTo>
                  <a:pt x="4907333" y="3052265"/>
                </a:lnTo>
                <a:cubicBezTo>
                  <a:pt x="4663112" y="1855925"/>
                  <a:pt x="4207436" y="890947"/>
                  <a:pt x="3564879" y="161713"/>
                </a:cubicBezTo>
                <a:lnTo>
                  <a:pt x="3459152" y="41603"/>
                </a:lnTo>
                <a:cubicBezTo>
                  <a:pt x="3415051" y="-8498"/>
                  <a:pt x="3339041" y="-14118"/>
                  <a:pt x="3288083" y="28935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2" name="Graphic 12">
            <a:extLst>
              <a:ext uri="{FF2B5EF4-FFF2-40B4-BE49-F238E27FC236}">
                <a16:creationId xmlns:a16="http://schemas.microsoft.com/office/drawing/2014/main" id="{680BDA63-3D31-4F3E-B415-D09D23FE69BB}"/>
              </a:ext>
            </a:extLst>
          </p:cNvPr>
          <p:cNvSpPr/>
          <p:nvPr userDrawn="1"/>
        </p:nvSpPr>
        <p:spPr>
          <a:xfrm rot="4740000" flipV="1">
            <a:off x="6670881" y="2834387"/>
            <a:ext cx="613296" cy="653046"/>
          </a:xfrm>
          <a:custGeom>
            <a:avLst/>
            <a:gdLst>
              <a:gd name="connsiteX0" fmla="*/ 3288083 w 5210478"/>
              <a:gd name="connsiteY0" fmla="*/ 28935 h 5548193"/>
              <a:gd name="connsiteX1" fmla="*/ 3167591 w 5210478"/>
              <a:gd name="connsiteY1" fmla="*/ 130757 h 5548193"/>
              <a:gd name="connsiteX2" fmla="*/ 45391 w 5210478"/>
              <a:gd name="connsiteY2" fmla="*/ 2660597 h 5548193"/>
              <a:gd name="connsiteX3" fmla="*/ 2529 w 5210478"/>
              <a:gd name="connsiteY3" fmla="*/ 2780612 h 5548193"/>
              <a:gd name="connsiteX4" fmla="*/ 556027 w 5210478"/>
              <a:gd name="connsiteY4" fmla="*/ 5450565 h 5548193"/>
              <a:gd name="connsiteX5" fmla="*/ 700807 w 5210478"/>
              <a:gd name="connsiteY5" fmla="*/ 5545624 h 5548193"/>
              <a:gd name="connsiteX6" fmla="*/ 5112787 w 5210478"/>
              <a:gd name="connsiteY6" fmla="*/ 4631415 h 5548193"/>
              <a:gd name="connsiteX7" fmla="*/ 5207846 w 5210478"/>
              <a:gd name="connsiteY7" fmla="*/ 4486350 h 5548193"/>
              <a:gd name="connsiteX8" fmla="*/ 4907333 w 5210478"/>
              <a:gd name="connsiteY8" fmla="*/ 3052265 h 5548193"/>
              <a:gd name="connsiteX9" fmla="*/ 3564879 w 5210478"/>
              <a:gd name="connsiteY9" fmla="*/ 161713 h 5548193"/>
              <a:gd name="connsiteX10" fmla="*/ 3459152 w 5210478"/>
              <a:gd name="connsiteY10" fmla="*/ 41603 h 5548193"/>
              <a:gd name="connsiteX11" fmla="*/ 3288083 w 5210478"/>
              <a:gd name="connsiteY11" fmla="*/ 28935 h 5548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210478" h="5548193">
                <a:moveTo>
                  <a:pt x="3288083" y="28935"/>
                </a:moveTo>
                <a:lnTo>
                  <a:pt x="3167591" y="130757"/>
                </a:lnTo>
                <a:lnTo>
                  <a:pt x="45391" y="2660597"/>
                </a:lnTo>
                <a:cubicBezTo>
                  <a:pt x="9768" y="2689458"/>
                  <a:pt x="-6710" y="2735750"/>
                  <a:pt x="2529" y="2780612"/>
                </a:cubicBezTo>
                <a:lnTo>
                  <a:pt x="556027" y="5450565"/>
                </a:lnTo>
                <a:cubicBezTo>
                  <a:pt x="569743" y="5516764"/>
                  <a:pt x="634608" y="5559340"/>
                  <a:pt x="700807" y="5545624"/>
                </a:cubicBezTo>
                <a:lnTo>
                  <a:pt x="5112787" y="4631415"/>
                </a:lnTo>
                <a:cubicBezTo>
                  <a:pt x="5179176" y="4617699"/>
                  <a:pt x="5221753" y="4552643"/>
                  <a:pt x="5207846" y="4486350"/>
                </a:cubicBezTo>
                <a:lnTo>
                  <a:pt x="4907333" y="3052265"/>
                </a:lnTo>
                <a:cubicBezTo>
                  <a:pt x="4663112" y="1855925"/>
                  <a:pt x="4207436" y="890947"/>
                  <a:pt x="3564879" y="161713"/>
                </a:cubicBezTo>
                <a:lnTo>
                  <a:pt x="3459152" y="41603"/>
                </a:lnTo>
                <a:cubicBezTo>
                  <a:pt x="3415051" y="-8498"/>
                  <a:pt x="3339041" y="-14118"/>
                  <a:pt x="3288083" y="2893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Tijdelijke aanduiding voor verticale tekst 2">
            <a:extLst>
              <a:ext uri="{FF2B5EF4-FFF2-40B4-BE49-F238E27FC236}">
                <a16:creationId xmlns:a16="http://schemas.microsoft.com/office/drawing/2014/main" id="{96339AD9-CAC5-49CB-996A-E9D7DBC51D43}"/>
              </a:ext>
            </a:extLst>
          </p:cNvPr>
          <p:cNvSpPr>
            <a:spLocks noGrp="1"/>
          </p:cNvSpPr>
          <p:nvPr userDrawn="1">
            <p:ph type="body" orient="vert" idx="16" hasCustomPrompt="1"/>
          </p:nvPr>
        </p:nvSpPr>
        <p:spPr>
          <a:xfrm>
            <a:off x="2021106" y="1826713"/>
            <a:ext cx="3794745" cy="259425"/>
          </a:xfrm>
        </p:spPr>
        <p:txBody>
          <a:bodyPr vert="horz" lIns="0" tIns="0" rIns="0" bIns="0" anchor="b"/>
          <a:lstStyle>
            <a:lvl1pPr marL="0" indent="0">
              <a:lnSpc>
                <a:spcPct val="70000"/>
              </a:lnSpc>
              <a:buNone/>
              <a:defRPr sz="2000" b="1"/>
            </a:lvl1pPr>
            <a:lvl2pPr marL="217488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Place title here</a:t>
            </a:r>
          </a:p>
        </p:txBody>
      </p:sp>
      <p:sp>
        <p:nvSpPr>
          <p:cNvPr id="24" name="Tijdelijke aanduiding voor verticale tekst 2">
            <a:extLst>
              <a:ext uri="{FF2B5EF4-FFF2-40B4-BE49-F238E27FC236}">
                <a16:creationId xmlns:a16="http://schemas.microsoft.com/office/drawing/2014/main" id="{65A4D6C2-520D-47E0-8620-717F73ED8C3C}"/>
              </a:ext>
            </a:extLst>
          </p:cNvPr>
          <p:cNvSpPr>
            <a:spLocks noGrp="1"/>
          </p:cNvSpPr>
          <p:nvPr userDrawn="1">
            <p:ph type="body" orient="vert" idx="17" hasCustomPrompt="1"/>
          </p:nvPr>
        </p:nvSpPr>
        <p:spPr>
          <a:xfrm>
            <a:off x="2021106" y="3265295"/>
            <a:ext cx="3794745" cy="1002634"/>
          </a:xfrm>
        </p:spPr>
        <p:txBody>
          <a:bodyPr vert="horz" lIns="0" tIns="0" rIns="0" bIns="0" anchor="t"/>
          <a:lstStyle>
            <a:lvl1pPr marL="0" indent="0">
              <a:lnSpc>
                <a:spcPct val="70000"/>
              </a:lnSpc>
              <a:buNone/>
              <a:defRPr sz="2000"/>
            </a:lvl1pPr>
            <a:lvl2pPr marL="217488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Place your text here</a:t>
            </a:r>
          </a:p>
        </p:txBody>
      </p:sp>
      <p:sp>
        <p:nvSpPr>
          <p:cNvPr id="25" name="Tijdelijke aanduiding voor verticale tekst 2">
            <a:extLst>
              <a:ext uri="{FF2B5EF4-FFF2-40B4-BE49-F238E27FC236}">
                <a16:creationId xmlns:a16="http://schemas.microsoft.com/office/drawing/2014/main" id="{005C4AD9-8AB9-4FCA-A2AB-49FEA01EC662}"/>
              </a:ext>
            </a:extLst>
          </p:cNvPr>
          <p:cNvSpPr>
            <a:spLocks noGrp="1"/>
          </p:cNvSpPr>
          <p:nvPr userDrawn="1">
            <p:ph type="body" orient="vert" idx="18" hasCustomPrompt="1"/>
          </p:nvPr>
        </p:nvSpPr>
        <p:spPr>
          <a:xfrm>
            <a:off x="2021106" y="2913909"/>
            <a:ext cx="3794745" cy="259425"/>
          </a:xfrm>
        </p:spPr>
        <p:txBody>
          <a:bodyPr vert="horz" lIns="0" tIns="0" rIns="0" bIns="0" anchor="b"/>
          <a:lstStyle>
            <a:lvl1pPr marL="0" indent="0">
              <a:lnSpc>
                <a:spcPct val="70000"/>
              </a:lnSpc>
              <a:buNone/>
              <a:defRPr sz="2000" b="1"/>
            </a:lvl1pPr>
            <a:lvl2pPr marL="217488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Place title here</a:t>
            </a:r>
          </a:p>
        </p:txBody>
      </p:sp>
      <p:sp>
        <p:nvSpPr>
          <p:cNvPr id="31" name="Tijdelijke aanduiding voor verticale tekst 2">
            <a:extLst>
              <a:ext uri="{FF2B5EF4-FFF2-40B4-BE49-F238E27FC236}">
                <a16:creationId xmlns:a16="http://schemas.microsoft.com/office/drawing/2014/main" id="{C5EF6E28-A8BF-4FB7-898D-7B029802FB0E}"/>
              </a:ext>
            </a:extLst>
          </p:cNvPr>
          <p:cNvSpPr>
            <a:spLocks noGrp="1"/>
          </p:cNvSpPr>
          <p:nvPr userDrawn="1">
            <p:ph type="body" orient="vert" idx="19" hasCustomPrompt="1"/>
          </p:nvPr>
        </p:nvSpPr>
        <p:spPr>
          <a:xfrm>
            <a:off x="7468269" y="2178099"/>
            <a:ext cx="3794745" cy="1002634"/>
          </a:xfrm>
        </p:spPr>
        <p:txBody>
          <a:bodyPr vert="horz" lIns="0" tIns="0" rIns="0" bIns="0" anchor="t"/>
          <a:lstStyle>
            <a:lvl1pPr marL="0" indent="0">
              <a:lnSpc>
                <a:spcPct val="70000"/>
              </a:lnSpc>
              <a:buNone/>
              <a:defRPr sz="2000"/>
            </a:lvl1pPr>
            <a:lvl2pPr marL="217488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Place your text here</a:t>
            </a:r>
          </a:p>
        </p:txBody>
      </p:sp>
      <p:sp>
        <p:nvSpPr>
          <p:cNvPr id="32" name="Tijdelijke aanduiding voor verticale tekst 2">
            <a:extLst>
              <a:ext uri="{FF2B5EF4-FFF2-40B4-BE49-F238E27FC236}">
                <a16:creationId xmlns:a16="http://schemas.microsoft.com/office/drawing/2014/main" id="{B01F21CE-901F-494D-BC5A-2FF2926E587E}"/>
              </a:ext>
            </a:extLst>
          </p:cNvPr>
          <p:cNvSpPr>
            <a:spLocks noGrp="1"/>
          </p:cNvSpPr>
          <p:nvPr userDrawn="1">
            <p:ph type="body" orient="vert" idx="20" hasCustomPrompt="1"/>
          </p:nvPr>
        </p:nvSpPr>
        <p:spPr>
          <a:xfrm>
            <a:off x="7468269" y="1826713"/>
            <a:ext cx="3794745" cy="259425"/>
          </a:xfrm>
        </p:spPr>
        <p:txBody>
          <a:bodyPr vert="horz" lIns="0" tIns="0" rIns="0" bIns="0" anchor="b"/>
          <a:lstStyle>
            <a:lvl1pPr marL="0" indent="0">
              <a:lnSpc>
                <a:spcPct val="70000"/>
              </a:lnSpc>
              <a:buNone/>
              <a:defRPr sz="2000" b="1"/>
            </a:lvl1pPr>
            <a:lvl2pPr marL="217488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Place title here</a:t>
            </a:r>
          </a:p>
        </p:txBody>
      </p:sp>
      <p:sp>
        <p:nvSpPr>
          <p:cNvPr id="33" name="Tijdelijke aanduiding voor verticale tekst 2">
            <a:extLst>
              <a:ext uri="{FF2B5EF4-FFF2-40B4-BE49-F238E27FC236}">
                <a16:creationId xmlns:a16="http://schemas.microsoft.com/office/drawing/2014/main" id="{CBBD953B-0C18-490B-806D-569E925D5FA9}"/>
              </a:ext>
            </a:extLst>
          </p:cNvPr>
          <p:cNvSpPr>
            <a:spLocks noGrp="1"/>
          </p:cNvSpPr>
          <p:nvPr userDrawn="1">
            <p:ph type="body" orient="vert" idx="21" hasCustomPrompt="1"/>
          </p:nvPr>
        </p:nvSpPr>
        <p:spPr>
          <a:xfrm>
            <a:off x="7468269" y="3265295"/>
            <a:ext cx="3794745" cy="1002634"/>
          </a:xfrm>
        </p:spPr>
        <p:txBody>
          <a:bodyPr vert="horz" lIns="0" tIns="0" rIns="0" bIns="0" anchor="t"/>
          <a:lstStyle>
            <a:lvl1pPr marL="0" indent="0">
              <a:lnSpc>
                <a:spcPct val="70000"/>
              </a:lnSpc>
              <a:buNone/>
              <a:defRPr sz="2000"/>
            </a:lvl1pPr>
            <a:lvl2pPr marL="217488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Place your text here</a:t>
            </a:r>
          </a:p>
        </p:txBody>
      </p:sp>
      <p:sp>
        <p:nvSpPr>
          <p:cNvPr id="34" name="Tijdelijke aanduiding voor verticale tekst 2">
            <a:extLst>
              <a:ext uri="{FF2B5EF4-FFF2-40B4-BE49-F238E27FC236}">
                <a16:creationId xmlns:a16="http://schemas.microsoft.com/office/drawing/2014/main" id="{A901902E-5EF6-4589-9469-1097EC1BD05A}"/>
              </a:ext>
            </a:extLst>
          </p:cNvPr>
          <p:cNvSpPr>
            <a:spLocks noGrp="1"/>
          </p:cNvSpPr>
          <p:nvPr userDrawn="1">
            <p:ph type="body" orient="vert" idx="22" hasCustomPrompt="1"/>
          </p:nvPr>
        </p:nvSpPr>
        <p:spPr>
          <a:xfrm>
            <a:off x="7468269" y="2913909"/>
            <a:ext cx="3794745" cy="259425"/>
          </a:xfrm>
        </p:spPr>
        <p:txBody>
          <a:bodyPr vert="horz" lIns="0" tIns="0" rIns="0" bIns="0" anchor="b"/>
          <a:lstStyle>
            <a:lvl1pPr marL="0" indent="0">
              <a:lnSpc>
                <a:spcPct val="70000"/>
              </a:lnSpc>
              <a:buNone/>
              <a:defRPr sz="2000" b="1"/>
            </a:lvl1pPr>
            <a:lvl2pPr marL="217488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Place title here</a:t>
            </a:r>
          </a:p>
        </p:txBody>
      </p:sp>
      <p:sp>
        <p:nvSpPr>
          <p:cNvPr id="35" name="Tijdelijke aanduiding voor verticale tekst 2">
            <a:extLst>
              <a:ext uri="{FF2B5EF4-FFF2-40B4-BE49-F238E27FC236}">
                <a16:creationId xmlns:a16="http://schemas.microsoft.com/office/drawing/2014/main" id="{D1B3DF1A-285C-4879-AF7B-02E410040FF1}"/>
              </a:ext>
            </a:extLst>
          </p:cNvPr>
          <p:cNvSpPr>
            <a:spLocks noGrp="1"/>
          </p:cNvSpPr>
          <p:nvPr userDrawn="1">
            <p:ph type="body" orient="vert" idx="23" hasCustomPrompt="1"/>
          </p:nvPr>
        </p:nvSpPr>
        <p:spPr>
          <a:xfrm>
            <a:off x="1369692" y="1909920"/>
            <a:ext cx="499638" cy="387246"/>
          </a:xfrm>
        </p:spPr>
        <p:txBody>
          <a:bodyPr vert="horz" lIns="0" tIns="0" rIns="0" bIns="0" anchor="b"/>
          <a:lstStyle>
            <a:lvl1pPr marL="0" indent="0" algn="ctr">
              <a:lnSpc>
                <a:spcPct val="70000"/>
              </a:lnSpc>
              <a:buNone/>
              <a:defRPr sz="2800" b="0">
                <a:solidFill>
                  <a:schemeClr val="bg1"/>
                </a:solidFill>
              </a:defRPr>
            </a:lvl1pPr>
            <a:lvl2pPr marL="217488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0</a:t>
            </a:r>
          </a:p>
        </p:txBody>
      </p:sp>
      <p:sp>
        <p:nvSpPr>
          <p:cNvPr id="36" name="Tijdelijke aanduiding voor verticale tekst 2">
            <a:extLst>
              <a:ext uri="{FF2B5EF4-FFF2-40B4-BE49-F238E27FC236}">
                <a16:creationId xmlns:a16="http://schemas.microsoft.com/office/drawing/2014/main" id="{5163A1EB-E330-4739-BD91-B3F092B01570}"/>
              </a:ext>
            </a:extLst>
          </p:cNvPr>
          <p:cNvSpPr>
            <a:spLocks noGrp="1"/>
          </p:cNvSpPr>
          <p:nvPr userDrawn="1">
            <p:ph type="body" orient="vert" idx="24" hasCustomPrompt="1"/>
          </p:nvPr>
        </p:nvSpPr>
        <p:spPr>
          <a:xfrm>
            <a:off x="1369692" y="2944731"/>
            <a:ext cx="499638" cy="387246"/>
          </a:xfrm>
        </p:spPr>
        <p:txBody>
          <a:bodyPr vert="horz" lIns="0" tIns="0" rIns="0" bIns="0" anchor="b"/>
          <a:lstStyle>
            <a:lvl1pPr marL="0" indent="0" algn="ctr">
              <a:lnSpc>
                <a:spcPct val="70000"/>
              </a:lnSpc>
              <a:buNone/>
              <a:defRPr sz="2800" b="0">
                <a:solidFill>
                  <a:schemeClr val="bg1"/>
                </a:solidFill>
              </a:defRPr>
            </a:lvl1pPr>
            <a:lvl2pPr marL="217488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0</a:t>
            </a:r>
          </a:p>
        </p:txBody>
      </p:sp>
      <p:sp>
        <p:nvSpPr>
          <p:cNvPr id="37" name="Tijdelijke aanduiding voor verticale tekst 2">
            <a:extLst>
              <a:ext uri="{FF2B5EF4-FFF2-40B4-BE49-F238E27FC236}">
                <a16:creationId xmlns:a16="http://schemas.microsoft.com/office/drawing/2014/main" id="{AFE2CBB0-12C5-4CA1-9329-CEC494769335}"/>
              </a:ext>
            </a:extLst>
          </p:cNvPr>
          <p:cNvSpPr>
            <a:spLocks noGrp="1"/>
          </p:cNvSpPr>
          <p:nvPr userDrawn="1">
            <p:ph type="body" orient="vert" idx="25" hasCustomPrompt="1"/>
          </p:nvPr>
        </p:nvSpPr>
        <p:spPr>
          <a:xfrm>
            <a:off x="6773899" y="1909920"/>
            <a:ext cx="499638" cy="387246"/>
          </a:xfrm>
        </p:spPr>
        <p:txBody>
          <a:bodyPr vert="horz" lIns="0" tIns="0" rIns="0" bIns="0" anchor="b"/>
          <a:lstStyle>
            <a:lvl1pPr marL="0" indent="0" algn="ctr">
              <a:lnSpc>
                <a:spcPct val="70000"/>
              </a:lnSpc>
              <a:buNone/>
              <a:defRPr sz="2800" b="0">
                <a:solidFill>
                  <a:schemeClr val="bg1"/>
                </a:solidFill>
              </a:defRPr>
            </a:lvl1pPr>
            <a:lvl2pPr marL="217488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0</a:t>
            </a:r>
          </a:p>
        </p:txBody>
      </p:sp>
      <p:sp>
        <p:nvSpPr>
          <p:cNvPr id="38" name="Tijdelijke aanduiding voor verticale tekst 2">
            <a:extLst>
              <a:ext uri="{FF2B5EF4-FFF2-40B4-BE49-F238E27FC236}">
                <a16:creationId xmlns:a16="http://schemas.microsoft.com/office/drawing/2014/main" id="{8291D114-14C3-4F3B-A921-3F488DBB7D72}"/>
              </a:ext>
            </a:extLst>
          </p:cNvPr>
          <p:cNvSpPr>
            <a:spLocks noGrp="1"/>
          </p:cNvSpPr>
          <p:nvPr userDrawn="1">
            <p:ph type="body" orient="vert" idx="26" hasCustomPrompt="1"/>
          </p:nvPr>
        </p:nvSpPr>
        <p:spPr>
          <a:xfrm>
            <a:off x="6773899" y="2944731"/>
            <a:ext cx="499638" cy="387246"/>
          </a:xfrm>
        </p:spPr>
        <p:txBody>
          <a:bodyPr vert="horz" lIns="0" tIns="0" rIns="0" bIns="0" anchor="b"/>
          <a:lstStyle>
            <a:lvl1pPr marL="0" indent="0" algn="ctr">
              <a:lnSpc>
                <a:spcPct val="70000"/>
              </a:lnSpc>
              <a:buNone/>
              <a:defRPr sz="2800" b="0">
                <a:solidFill>
                  <a:schemeClr val="bg1"/>
                </a:solidFill>
              </a:defRPr>
            </a:lvl1pPr>
            <a:lvl2pPr marL="217488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2302977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DBC4ED3-AF89-4982-B9D1-BCCFB37293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0554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DBC4ED3-AF89-4982-B9D1-BCCFB37293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1EC260BA-307A-44C6-88B4-52E6FB382C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>
              <a:latin typeface="Source Sans Pro" panose="020B0503030403020204" pitchFamily="34" charset="0"/>
              <a:ea typeface="+mj-ea"/>
              <a:cs typeface="+mj-cs"/>
              <a:sym typeface="Source Sans Pro" panose="020B0503030403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r>
              <a:rPr lang="en-US" noProof="0"/>
              <a:t>Add a slide title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977237" y="3839888"/>
            <a:ext cx="3115077" cy="1757170"/>
          </a:xfrm>
        </p:spPr>
        <p:txBody>
          <a:bodyPr vert="horz" lIns="0" tIns="0" rIns="0" bIns="0" anchor="t"/>
          <a:lstStyle>
            <a:lvl1pPr marL="342900" indent="-342900">
              <a:lnSpc>
                <a:spcPct val="90000"/>
              </a:lnSpc>
              <a:buFont typeface="Arial" panose="020B0604020202020204" pitchFamily="34" charset="0"/>
              <a:buChar char="•"/>
              <a:defRPr sz="1800"/>
            </a:lvl1pPr>
            <a:lvl2pPr marL="217488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Place your text here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en-US" smtClean="0"/>
              <a:t>‹N›</a:t>
            </a:fld>
            <a:endParaRPr lang="en-US"/>
          </a:p>
        </p:txBody>
      </p:sp>
      <p:sp>
        <p:nvSpPr>
          <p:cNvPr id="7" name="Tekstvak 6"/>
          <p:cNvSpPr txBox="1"/>
          <p:nvPr userDrawn="1"/>
        </p:nvSpPr>
        <p:spPr>
          <a:xfrm>
            <a:off x="-10750" y="-662296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914400" rtl="0" eaLnBrk="1" latinLnBrk="0" hangingPunct="1"/>
            <a:r>
              <a:rPr lang="en-US" sz="2400" b="0" kern="1200" spc="50" baseline="0">
                <a:solidFill>
                  <a:schemeClr val="accent2"/>
                </a:solidFill>
                <a:latin typeface="+mj-lt"/>
                <a:ea typeface="+mn-ea"/>
                <a:cs typeface="Calibri" panose="020F0502020204030204" pitchFamily="34" charset="0"/>
              </a:rPr>
              <a:t>Text + images x3</a:t>
            </a:r>
          </a:p>
        </p:txBody>
      </p:sp>
      <p:sp>
        <p:nvSpPr>
          <p:cNvPr id="14" name="Tijdelijke aanduiding voor verticale tekst 2">
            <a:extLst>
              <a:ext uri="{FF2B5EF4-FFF2-40B4-BE49-F238E27FC236}">
                <a16:creationId xmlns:a16="http://schemas.microsoft.com/office/drawing/2014/main" id="{F0C786C0-9CA0-4949-A72E-59C8A44B393B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977238" y="992477"/>
            <a:ext cx="10653442" cy="384511"/>
          </a:xfrm>
        </p:spPr>
        <p:txBody>
          <a:bodyPr vert="horz" lIns="0" tIns="0" bIns="0" anchor="t"/>
          <a:lstStyle>
            <a:lvl1pPr marL="0" indent="0">
              <a:buNone/>
              <a:defRPr sz="3000">
                <a:solidFill>
                  <a:schemeClr val="accent2"/>
                </a:solidFill>
              </a:defRPr>
            </a:lvl1pPr>
            <a:lvl2pPr marL="217488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23" name="Tijdelijke aanduiding voor verticale tekst 2">
            <a:extLst>
              <a:ext uri="{FF2B5EF4-FFF2-40B4-BE49-F238E27FC236}">
                <a16:creationId xmlns:a16="http://schemas.microsoft.com/office/drawing/2014/main" id="{96339AD9-CAC5-49CB-996A-E9D7DBC51D43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971710" y="3193227"/>
            <a:ext cx="2438240" cy="259425"/>
          </a:xfrm>
        </p:spPr>
        <p:txBody>
          <a:bodyPr vert="horz" lIns="0" tIns="0" rIns="0" bIns="0" anchor="b"/>
          <a:lstStyle>
            <a:lvl1pPr marL="0" indent="0">
              <a:lnSpc>
                <a:spcPct val="70000"/>
              </a:lnSpc>
              <a:buNone/>
              <a:defRPr sz="2000" b="1"/>
            </a:lvl1pPr>
            <a:lvl2pPr marL="217488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Place title here</a:t>
            </a:r>
          </a:p>
        </p:txBody>
      </p:sp>
      <p:sp>
        <p:nvSpPr>
          <p:cNvPr id="42" name="Tijdelijke aanduiding voor afbeelding 8">
            <a:extLst>
              <a:ext uri="{FF2B5EF4-FFF2-40B4-BE49-F238E27FC236}">
                <a16:creationId xmlns:a16="http://schemas.microsoft.com/office/drawing/2014/main" id="{5CCB634F-0162-4BE7-A794-F4D4CB1AB6B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77238" y="1428750"/>
            <a:ext cx="2489862" cy="1409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bIns="792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he icon below </a:t>
            </a:r>
            <a:br>
              <a:rPr lang="en-US"/>
            </a:br>
            <a:r>
              <a:rPr lang="en-US"/>
              <a:t>to add an image.</a:t>
            </a:r>
          </a:p>
        </p:txBody>
      </p:sp>
      <p:sp>
        <p:nvSpPr>
          <p:cNvPr id="43" name="Tijdelijke aanduiding voor verticale tekst 2">
            <a:extLst>
              <a:ext uri="{FF2B5EF4-FFF2-40B4-BE49-F238E27FC236}">
                <a16:creationId xmlns:a16="http://schemas.microsoft.com/office/drawing/2014/main" id="{582ECC9D-653B-43BC-A6C9-08F547756368}"/>
              </a:ext>
            </a:extLst>
          </p:cNvPr>
          <p:cNvSpPr>
            <a:spLocks noGrp="1"/>
          </p:cNvSpPr>
          <p:nvPr>
            <p:ph type="body" orient="vert" idx="17" hasCustomPrompt="1"/>
          </p:nvPr>
        </p:nvSpPr>
        <p:spPr>
          <a:xfrm>
            <a:off x="4187162" y="3839888"/>
            <a:ext cx="3115077" cy="1757170"/>
          </a:xfrm>
        </p:spPr>
        <p:txBody>
          <a:bodyPr vert="horz" lIns="0" tIns="0" rIns="0" bIns="0" anchor="t"/>
          <a:lstStyle>
            <a:lvl1pPr marL="342900" indent="-342900">
              <a:lnSpc>
                <a:spcPct val="90000"/>
              </a:lnSpc>
              <a:buFont typeface="Arial" panose="020B0604020202020204" pitchFamily="34" charset="0"/>
              <a:buChar char="•"/>
              <a:defRPr sz="1800"/>
            </a:lvl1pPr>
            <a:lvl2pPr marL="217488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Place your text here</a:t>
            </a:r>
          </a:p>
        </p:txBody>
      </p:sp>
      <p:sp>
        <p:nvSpPr>
          <p:cNvPr id="44" name="Tijdelijke aanduiding voor verticale tekst 2">
            <a:extLst>
              <a:ext uri="{FF2B5EF4-FFF2-40B4-BE49-F238E27FC236}">
                <a16:creationId xmlns:a16="http://schemas.microsoft.com/office/drawing/2014/main" id="{E0656781-2D12-4E3B-B6A5-E97CB57A49A2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4181635" y="3193227"/>
            <a:ext cx="2438240" cy="259425"/>
          </a:xfrm>
        </p:spPr>
        <p:txBody>
          <a:bodyPr vert="horz" lIns="0" tIns="0" rIns="0" bIns="0" anchor="b"/>
          <a:lstStyle>
            <a:lvl1pPr marL="0" indent="0">
              <a:lnSpc>
                <a:spcPct val="70000"/>
              </a:lnSpc>
              <a:buNone/>
              <a:defRPr sz="2000" b="1"/>
            </a:lvl1pPr>
            <a:lvl2pPr marL="217488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Place title here</a:t>
            </a:r>
          </a:p>
        </p:txBody>
      </p:sp>
      <p:sp>
        <p:nvSpPr>
          <p:cNvPr id="45" name="Tijdelijke aanduiding voor afbeelding 8">
            <a:extLst>
              <a:ext uri="{FF2B5EF4-FFF2-40B4-BE49-F238E27FC236}">
                <a16:creationId xmlns:a16="http://schemas.microsoft.com/office/drawing/2014/main" id="{A48F1F38-1634-4266-87F9-A2E28B386FE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187163" y="1428750"/>
            <a:ext cx="2489862" cy="1409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bIns="792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he icon below </a:t>
            </a:r>
            <a:br>
              <a:rPr lang="en-US"/>
            </a:br>
            <a:r>
              <a:rPr lang="en-US"/>
              <a:t>to add an image.</a:t>
            </a:r>
          </a:p>
        </p:txBody>
      </p:sp>
      <p:sp>
        <p:nvSpPr>
          <p:cNvPr id="46" name="Tijdelijke aanduiding voor verticale tekst 2">
            <a:extLst>
              <a:ext uri="{FF2B5EF4-FFF2-40B4-BE49-F238E27FC236}">
                <a16:creationId xmlns:a16="http://schemas.microsoft.com/office/drawing/2014/main" id="{BB72A58F-3B5D-45DD-A2CD-7BEB151FBED3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7449757" y="3839888"/>
            <a:ext cx="3115077" cy="1757170"/>
          </a:xfrm>
        </p:spPr>
        <p:txBody>
          <a:bodyPr vert="horz" lIns="0" tIns="0" rIns="0" bIns="0" anchor="t"/>
          <a:lstStyle>
            <a:lvl1pPr marL="342900" indent="-342900">
              <a:lnSpc>
                <a:spcPct val="90000"/>
              </a:lnSpc>
              <a:buFont typeface="Arial" panose="020B0604020202020204" pitchFamily="34" charset="0"/>
              <a:buChar char="•"/>
              <a:defRPr sz="1800"/>
            </a:lvl1pPr>
            <a:lvl2pPr marL="217488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Place your text here</a:t>
            </a:r>
          </a:p>
        </p:txBody>
      </p:sp>
      <p:sp>
        <p:nvSpPr>
          <p:cNvPr id="47" name="Tijdelijke aanduiding voor verticale tekst 2">
            <a:extLst>
              <a:ext uri="{FF2B5EF4-FFF2-40B4-BE49-F238E27FC236}">
                <a16:creationId xmlns:a16="http://schemas.microsoft.com/office/drawing/2014/main" id="{9E313CD9-B9B5-415D-AC63-99D8F54E1223}"/>
              </a:ext>
            </a:extLst>
          </p:cNvPr>
          <p:cNvSpPr>
            <a:spLocks noGrp="1"/>
          </p:cNvSpPr>
          <p:nvPr>
            <p:ph type="body" orient="vert" idx="21" hasCustomPrompt="1"/>
          </p:nvPr>
        </p:nvSpPr>
        <p:spPr>
          <a:xfrm>
            <a:off x="7444230" y="3193227"/>
            <a:ext cx="2438240" cy="259425"/>
          </a:xfrm>
        </p:spPr>
        <p:txBody>
          <a:bodyPr vert="horz" lIns="0" tIns="0" rIns="0" bIns="0" anchor="b"/>
          <a:lstStyle>
            <a:lvl1pPr marL="0" indent="0">
              <a:lnSpc>
                <a:spcPct val="70000"/>
              </a:lnSpc>
              <a:buNone/>
              <a:defRPr sz="2000" b="1"/>
            </a:lvl1pPr>
            <a:lvl2pPr marL="217488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Place title here</a:t>
            </a:r>
          </a:p>
        </p:txBody>
      </p:sp>
      <p:sp>
        <p:nvSpPr>
          <p:cNvPr id="48" name="Tijdelijke aanduiding voor afbeelding 8">
            <a:extLst>
              <a:ext uri="{FF2B5EF4-FFF2-40B4-BE49-F238E27FC236}">
                <a16:creationId xmlns:a16="http://schemas.microsoft.com/office/drawing/2014/main" id="{E52B4608-6906-413B-B534-F551F102D7F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7449758" y="1428750"/>
            <a:ext cx="2489862" cy="1409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bIns="792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he icon below </a:t>
            </a:r>
            <a:br>
              <a:rPr lang="en-US"/>
            </a:br>
            <a:r>
              <a:rPr lang="en-US"/>
              <a:t>to add an image.</a:t>
            </a:r>
          </a:p>
        </p:txBody>
      </p:sp>
    </p:spTree>
    <p:extLst>
      <p:ext uri="{BB962C8B-B14F-4D97-AF65-F5344CB8AC3E}">
        <p14:creationId xmlns:p14="http://schemas.microsoft.com/office/powerpoint/2010/main" val="2605935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E3E07E3-BCA0-4A12-BA14-D9010D0A2E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05084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E3E07E3-BCA0-4A12-BA14-D9010D0A2E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B6F2C83-93DB-4B5A-B810-28E0619A684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>
              <a:latin typeface="Source Sans Pro" panose="020B0503030403020204" pitchFamily="34" charset="0"/>
              <a:ea typeface="+mj-ea"/>
              <a:cs typeface="+mj-cs"/>
              <a:sym typeface="Source Sans Pro" panose="020B0503030403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977281" y="607965"/>
            <a:ext cx="10653438" cy="384511"/>
          </a:xfrm>
        </p:spPr>
        <p:txBody>
          <a:bodyPr lIns="0" tIns="0" bIns="0"/>
          <a:lstStyle>
            <a:lvl1pPr>
              <a:defRPr/>
            </a:lvl1pPr>
          </a:lstStyle>
          <a:p>
            <a:r>
              <a:rPr lang="en-US" noProof="0"/>
              <a:t>Add a slide title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977238" y="1591900"/>
            <a:ext cx="5001363" cy="4005157"/>
          </a:xfrm>
        </p:spPr>
        <p:txBody>
          <a:bodyPr vert="horz" lIns="0" tIns="0" b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here to add text. Need additional help? PPT Solutions has added extra instructions to the sides of the slides to help style- and process your text.</a:t>
            </a:r>
          </a:p>
          <a:p>
            <a:pPr lvl="1"/>
            <a:r>
              <a:rPr lang="en-US" noProof="0"/>
              <a:t>Sub-bullet</a:t>
            </a:r>
          </a:p>
          <a:p>
            <a:pPr lvl="2"/>
            <a:r>
              <a:rPr lang="en-US" noProof="0"/>
              <a:t>Default text</a:t>
            </a:r>
          </a:p>
          <a:p>
            <a:pPr lvl="3"/>
            <a:r>
              <a:rPr lang="en-US" noProof="0"/>
              <a:t>Subtitle</a:t>
            </a:r>
          </a:p>
          <a:p>
            <a:pPr lvl="4"/>
            <a:r>
              <a:rPr lang="en-US" noProof="0"/>
              <a:t>Numerical bullet</a:t>
            </a:r>
          </a:p>
          <a:p>
            <a:pPr lvl="5"/>
            <a:r>
              <a:rPr lang="en-US" noProof="0"/>
              <a:t>Bullet</a:t>
            </a:r>
          </a:p>
          <a:p>
            <a:pPr lvl="6"/>
            <a:r>
              <a:rPr lang="en-US" noProof="0"/>
              <a:t>Sub-bullet</a:t>
            </a:r>
          </a:p>
          <a:p>
            <a:pPr lvl="7"/>
            <a:r>
              <a:rPr lang="en-US" noProof="0"/>
              <a:t>Default text</a:t>
            </a:r>
          </a:p>
          <a:p>
            <a:pPr lvl="8"/>
            <a:r>
              <a:rPr lang="en-US" noProof="0"/>
              <a:t>Subtitle</a:t>
            </a:r>
          </a:p>
        </p:txBody>
      </p:sp>
      <p:sp>
        <p:nvSpPr>
          <p:cNvPr id="7" name="Tekstvak 6"/>
          <p:cNvSpPr txBox="1"/>
          <p:nvPr userDrawn="1"/>
        </p:nvSpPr>
        <p:spPr>
          <a:xfrm>
            <a:off x="-10750" y="-662296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914400" rtl="0" eaLnBrk="1" latinLnBrk="0" hangingPunct="1"/>
            <a:r>
              <a:rPr lang="en-US" sz="2400" b="0" kern="1200" spc="50" baseline="0">
                <a:solidFill>
                  <a:schemeClr val="accent2"/>
                </a:solidFill>
                <a:latin typeface="+mj-lt"/>
                <a:ea typeface="+mn-ea"/>
                <a:cs typeface="Calibri" panose="020F0502020204030204" pitchFamily="34" charset="0"/>
              </a:rPr>
              <a:t>Text + image #1</a:t>
            </a:r>
          </a:p>
        </p:txBody>
      </p:sp>
      <p:sp>
        <p:nvSpPr>
          <p:cNvPr id="87" name="Tijdelijke aanduiding voor afbeelding 8"/>
          <p:cNvSpPr>
            <a:spLocks noGrp="1"/>
          </p:cNvSpPr>
          <p:nvPr>
            <p:ph type="pic" sz="quarter" idx="14" hasCustomPrompt="1"/>
          </p:nvPr>
        </p:nvSpPr>
        <p:spPr>
          <a:xfrm>
            <a:off x="6629400" y="1314450"/>
            <a:ext cx="5562600" cy="554355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he icon below </a:t>
            </a:r>
            <a:br>
              <a:rPr lang="en-US"/>
            </a:br>
            <a:r>
              <a:rPr lang="en-US"/>
              <a:t>to add an image.</a:t>
            </a:r>
            <a:br>
              <a:rPr lang="en-US"/>
            </a:br>
            <a:br>
              <a:rPr lang="en-US"/>
            </a:br>
            <a:r>
              <a:rPr lang="en-US"/>
              <a:t>Need additional help?</a:t>
            </a:r>
            <a:br>
              <a:rPr lang="en-US"/>
            </a:br>
            <a:r>
              <a:rPr lang="en-US"/>
              <a:t>To the side of the slides we’ve placed extra</a:t>
            </a:r>
            <a:br>
              <a:rPr lang="en-US"/>
            </a:br>
            <a:r>
              <a:rPr lang="en-US"/>
              <a:t> instructions how to process content. 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17" name="Tijdelijke aanduiding voor verticale tekst 2">
            <a:extLst>
              <a:ext uri="{FF2B5EF4-FFF2-40B4-BE49-F238E27FC236}">
                <a16:creationId xmlns:a16="http://schemas.microsoft.com/office/drawing/2014/main" id="{EDF5F569-4A87-451E-A00C-CDD8D4BB4AAD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977238" y="992477"/>
            <a:ext cx="5001363" cy="384511"/>
          </a:xfrm>
        </p:spPr>
        <p:txBody>
          <a:bodyPr vert="horz" lIns="0" tIns="0" bIns="0" anchor="t"/>
          <a:lstStyle>
            <a:lvl1pPr marL="0" indent="0">
              <a:buNone/>
              <a:defRPr sz="3000">
                <a:solidFill>
                  <a:schemeClr val="accent2"/>
                </a:solidFill>
              </a:defRPr>
            </a:lvl1pPr>
            <a:lvl2pPr marL="217488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970580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6B0CE0E-121E-4535-9218-2B04D694D9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6321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6B0CE0E-121E-4535-9218-2B04D694D9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294688B6-E328-44BF-ADF3-4208C62A29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>
              <a:latin typeface="Source Sans Pro" panose="020B0503030403020204" pitchFamily="34" charset="0"/>
              <a:ea typeface="+mj-ea"/>
              <a:cs typeface="+mj-cs"/>
              <a:sym typeface="Source Sans Pro" panose="020B0503030403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977281" y="607965"/>
            <a:ext cx="5002091" cy="384511"/>
          </a:xfrm>
        </p:spPr>
        <p:txBody>
          <a:bodyPr lIns="0" tIns="0" bIns="0"/>
          <a:lstStyle>
            <a:lvl1pPr>
              <a:defRPr/>
            </a:lvl1pPr>
          </a:lstStyle>
          <a:p>
            <a:r>
              <a:rPr lang="en-US" noProof="0"/>
              <a:t>Add a slide title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977238" y="1591900"/>
            <a:ext cx="5001363" cy="4005157"/>
          </a:xfrm>
        </p:spPr>
        <p:txBody>
          <a:bodyPr vert="horz" lIns="0" tIns="0" b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here to add text. Need additional help? PPT Solutions has added extra instructions to the sides of the slides to help style- and process your text.</a:t>
            </a:r>
          </a:p>
          <a:p>
            <a:pPr lvl="1"/>
            <a:r>
              <a:rPr lang="en-US" noProof="0"/>
              <a:t>Sub-bullet</a:t>
            </a:r>
          </a:p>
          <a:p>
            <a:pPr lvl="2"/>
            <a:r>
              <a:rPr lang="en-US" noProof="0"/>
              <a:t>Default text</a:t>
            </a:r>
          </a:p>
          <a:p>
            <a:pPr lvl="3"/>
            <a:r>
              <a:rPr lang="en-US" noProof="0"/>
              <a:t>Subtitle</a:t>
            </a:r>
          </a:p>
          <a:p>
            <a:pPr lvl="4"/>
            <a:r>
              <a:rPr lang="en-US" noProof="0"/>
              <a:t>Numerical bullet</a:t>
            </a:r>
          </a:p>
          <a:p>
            <a:pPr lvl="5"/>
            <a:r>
              <a:rPr lang="en-US" noProof="0"/>
              <a:t>Bullet</a:t>
            </a:r>
          </a:p>
          <a:p>
            <a:pPr lvl="6"/>
            <a:r>
              <a:rPr lang="en-US" noProof="0"/>
              <a:t>Sub-bullet</a:t>
            </a:r>
          </a:p>
          <a:p>
            <a:pPr lvl="7"/>
            <a:r>
              <a:rPr lang="en-US" noProof="0"/>
              <a:t>Default text</a:t>
            </a:r>
          </a:p>
          <a:p>
            <a:pPr lvl="8"/>
            <a:r>
              <a:rPr lang="en-US" noProof="0"/>
              <a:t>Subtitle</a:t>
            </a:r>
          </a:p>
        </p:txBody>
      </p:sp>
      <p:sp>
        <p:nvSpPr>
          <p:cNvPr id="7" name="Tekstvak 6"/>
          <p:cNvSpPr txBox="1"/>
          <p:nvPr userDrawn="1"/>
        </p:nvSpPr>
        <p:spPr>
          <a:xfrm>
            <a:off x="-10750" y="-662296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0" kern="1200" spc="50" baseline="0">
                <a:solidFill>
                  <a:schemeClr val="accent2"/>
                </a:solidFill>
                <a:latin typeface="+mn-lt"/>
                <a:ea typeface="+mn-ea"/>
                <a:cs typeface="Calibri" panose="020F0502020204030204" pitchFamily="34" charset="0"/>
              </a:rPr>
              <a:t>Text + image #2</a:t>
            </a:r>
          </a:p>
        </p:txBody>
      </p:sp>
      <p:sp>
        <p:nvSpPr>
          <p:cNvPr id="87" name="Tijdelijke aanduiding voor afbeelding 8"/>
          <p:cNvSpPr>
            <a:spLocks noGrp="1"/>
          </p:cNvSpPr>
          <p:nvPr>
            <p:ph type="pic" sz="quarter" idx="14" hasCustomPrompt="1"/>
          </p:nvPr>
        </p:nvSpPr>
        <p:spPr>
          <a:xfrm>
            <a:off x="6629400" y="0"/>
            <a:ext cx="55626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he icon below </a:t>
            </a:r>
            <a:br>
              <a:rPr lang="en-US"/>
            </a:br>
            <a:r>
              <a:rPr lang="en-US"/>
              <a:t>to add an image.</a:t>
            </a:r>
            <a:br>
              <a:rPr lang="en-US"/>
            </a:br>
            <a:br>
              <a:rPr lang="en-US"/>
            </a:br>
            <a:r>
              <a:rPr lang="en-US"/>
              <a:t>Need additional help?</a:t>
            </a:r>
            <a:br>
              <a:rPr lang="en-US"/>
            </a:br>
            <a:r>
              <a:rPr lang="en-US"/>
              <a:t>To the side of the slides we’ve placed extra</a:t>
            </a:r>
            <a:br>
              <a:rPr lang="en-US"/>
            </a:br>
            <a:r>
              <a:rPr lang="en-US"/>
              <a:t> instructions how to process content. 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17" name="Tijdelijke aanduiding voor verticale tekst 2">
            <a:extLst>
              <a:ext uri="{FF2B5EF4-FFF2-40B4-BE49-F238E27FC236}">
                <a16:creationId xmlns:a16="http://schemas.microsoft.com/office/drawing/2014/main" id="{EDF5F569-4A87-451E-A00C-CDD8D4BB4AAD}"/>
              </a:ext>
            </a:extLst>
          </p:cNvPr>
          <p:cNvSpPr>
            <a:spLocks noGrp="1"/>
          </p:cNvSpPr>
          <p:nvPr>
            <p:ph type="body" orient="vert" idx="15" hasCustomPrompt="1"/>
          </p:nvPr>
        </p:nvSpPr>
        <p:spPr>
          <a:xfrm>
            <a:off x="977238" y="992477"/>
            <a:ext cx="5001363" cy="384511"/>
          </a:xfrm>
        </p:spPr>
        <p:txBody>
          <a:bodyPr vert="horz" lIns="0" tIns="0" bIns="0" anchor="t"/>
          <a:lstStyle>
            <a:lvl1pPr marL="0" indent="0">
              <a:buNone/>
              <a:defRPr sz="3000">
                <a:solidFill>
                  <a:schemeClr val="accent2"/>
                </a:solidFill>
              </a:defRPr>
            </a:lvl1pPr>
            <a:lvl2pPr marL="217488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051949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75CD494-8CCC-4BD8-9106-81C6A8CD6D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6823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75CD494-8CCC-4BD8-9106-81C6A8CD6D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96D92C20-CE76-43F1-BE25-5BCD0AF267B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>
              <a:latin typeface="Source Sans Pro" panose="020B0503030403020204" pitchFamily="34" charset="0"/>
              <a:ea typeface="+mj-ea"/>
              <a:cs typeface="+mj-cs"/>
              <a:sym typeface="Source Sans Pro" panose="020B0503030403020204" pitchFamily="34" charset="0"/>
            </a:endParaRPr>
          </a:p>
        </p:txBody>
      </p:sp>
      <p:sp>
        <p:nvSpPr>
          <p:cNvPr id="10" name="Graphic 12">
            <a:extLst>
              <a:ext uri="{FF2B5EF4-FFF2-40B4-BE49-F238E27FC236}">
                <a16:creationId xmlns:a16="http://schemas.microsoft.com/office/drawing/2014/main" id="{ED5A55CD-6CAF-4D7C-AF10-895CA7526B23}"/>
              </a:ext>
            </a:extLst>
          </p:cNvPr>
          <p:cNvSpPr/>
          <p:nvPr userDrawn="1"/>
        </p:nvSpPr>
        <p:spPr>
          <a:xfrm rot="17820000" flipV="1">
            <a:off x="3945234" y="1248683"/>
            <a:ext cx="4786074" cy="5096281"/>
          </a:xfrm>
          <a:custGeom>
            <a:avLst/>
            <a:gdLst>
              <a:gd name="connsiteX0" fmla="*/ 3288083 w 5210478"/>
              <a:gd name="connsiteY0" fmla="*/ 28935 h 5548193"/>
              <a:gd name="connsiteX1" fmla="*/ 3167591 w 5210478"/>
              <a:gd name="connsiteY1" fmla="*/ 130757 h 5548193"/>
              <a:gd name="connsiteX2" fmla="*/ 45391 w 5210478"/>
              <a:gd name="connsiteY2" fmla="*/ 2660597 h 5548193"/>
              <a:gd name="connsiteX3" fmla="*/ 2529 w 5210478"/>
              <a:gd name="connsiteY3" fmla="*/ 2780612 h 5548193"/>
              <a:gd name="connsiteX4" fmla="*/ 556027 w 5210478"/>
              <a:gd name="connsiteY4" fmla="*/ 5450565 h 5548193"/>
              <a:gd name="connsiteX5" fmla="*/ 700807 w 5210478"/>
              <a:gd name="connsiteY5" fmla="*/ 5545624 h 5548193"/>
              <a:gd name="connsiteX6" fmla="*/ 5112787 w 5210478"/>
              <a:gd name="connsiteY6" fmla="*/ 4631415 h 5548193"/>
              <a:gd name="connsiteX7" fmla="*/ 5207846 w 5210478"/>
              <a:gd name="connsiteY7" fmla="*/ 4486350 h 5548193"/>
              <a:gd name="connsiteX8" fmla="*/ 4907333 w 5210478"/>
              <a:gd name="connsiteY8" fmla="*/ 3052265 h 5548193"/>
              <a:gd name="connsiteX9" fmla="*/ 3564879 w 5210478"/>
              <a:gd name="connsiteY9" fmla="*/ 161713 h 5548193"/>
              <a:gd name="connsiteX10" fmla="*/ 3459152 w 5210478"/>
              <a:gd name="connsiteY10" fmla="*/ 41603 h 5548193"/>
              <a:gd name="connsiteX11" fmla="*/ 3288083 w 5210478"/>
              <a:gd name="connsiteY11" fmla="*/ 28935 h 5548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210478" h="5548193">
                <a:moveTo>
                  <a:pt x="3288083" y="28935"/>
                </a:moveTo>
                <a:lnTo>
                  <a:pt x="3167591" y="130757"/>
                </a:lnTo>
                <a:lnTo>
                  <a:pt x="45391" y="2660597"/>
                </a:lnTo>
                <a:cubicBezTo>
                  <a:pt x="9768" y="2689458"/>
                  <a:pt x="-6710" y="2735750"/>
                  <a:pt x="2529" y="2780612"/>
                </a:cubicBezTo>
                <a:lnTo>
                  <a:pt x="556027" y="5450565"/>
                </a:lnTo>
                <a:cubicBezTo>
                  <a:pt x="569743" y="5516764"/>
                  <a:pt x="634608" y="5559340"/>
                  <a:pt x="700807" y="5545624"/>
                </a:cubicBezTo>
                <a:lnTo>
                  <a:pt x="5112787" y="4631415"/>
                </a:lnTo>
                <a:cubicBezTo>
                  <a:pt x="5179176" y="4617699"/>
                  <a:pt x="5221753" y="4552643"/>
                  <a:pt x="5207846" y="4486350"/>
                </a:cubicBezTo>
                <a:lnTo>
                  <a:pt x="4907333" y="3052265"/>
                </a:lnTo>
                <a:cubicBezTo>
                  <a:pt x="4663112" y="1855925"/>
                  <a:pt x="4207436" y="890947"/>
                  <a:pt x="3564879" y="161713"/>
                </a:cubicBezTo>
                <a:lnTo>
                  <a:pt x="3459152" y="41603"/>
                </a:lnTo>
                <a:cubicBezTo>
                  <a:pt x="3415051" y="-8498"/>
                  <a:pt x="3339041" y="-14118"/>
                  <a:pt x="3288083" y="28935"/>
                </a:cubicBezTo>
                <a:close/>
              </a:path>
            </a:pathLst>
          </a:custGeom>
          <a:noFill/>
          <a:ln w="9525" cap="flat">
            <a:solidFill>
              <a:schemeClr val="accent4">
                <a:lumMod val="20000"/>
                <a:lumOff val="8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en-US" smtClean="0"/>
              <a:t>‹N›</a:t>
            </a:fld>
            <a:endParaRPr lang="en-US"/>
          </a:p>
        </p:txBody>
      </p:sp>
      <p:sp>
        <p:nvSpPr>
          <p:cNvPr id="5" name="Tekstvak 4"/>
          <p:cNvSpPr txBox="1"/>
          <p:nvPr userDrawn="1"/>
        </p:nvSpPr>
        <p:spPr>
          <a:xfrm>
            <a:off x="-10750" y="-662296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0" spc="50" baseline="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Quote slide #1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1253527" y="1852850"/>
            <a:ext cx="9684947" cy="3152301"/>
          </a:xfrm>
        </p:spPr>
        <p:txBody>
          <a:bodyPr anchor="ctr"/>
          <a:lstStyle>
            <a:lvl1pPr algn="ctr">
              <a:defRPr sz="4000"/>
            </a:lvl1pPr>
          </a:lstStyle>
          <a:p>
            <a:r>
              <a:rPr lang="en-US" noProof="0"/>
              <a:t>Place your text or quote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3245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3E15611-391F-4B68-AC51-1424AAD120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1424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3E15611-391F-4B68-AC51-1424AAD120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BBCCECF6-AE14-43F0-BFF8-D0D27698EA2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>
              <a:latin typeface="Source Sans Pro" panose="020B0503030403020204" pitchFamily="34" charset="0"/>
              <a:ea typeface="+mj-ea"/>
              <a:cs typeface="+mj-cs"/>
              <a:sym typeface="Source Sans Pro" panose="020B0503030403020204" pitchFamily="34" charset="0"/>
            </a:endParaRPr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DAF7F0BE-1368-471B-96B8-BC58087E4A1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Graphic 12">
            <a:extLst>
              <a:ext uri="{FF2B5EF4-FFF2-40B4-BE49-F238E27FC236}">
                <a16:creationId xmlns:a16="http://schemas.microsoft.com/office/drawing/2014/main" id="{ED5A55CD-6CAF-4D7C-AF10-895CA7526B23}"/>
              </a:ext>
            </a:extLst>
          </p:cNvPr>
          <p:cNvSpPr/>
          <p:nvPr userDrawn="1"/>
        </p:nvSpPr>
        <p:spPr>
          <a:xfrm rot="17820000" flipV="1">
            <a:off x="3945234" y="1248683"/>
            <a:ext cx="4786074" cy="5096281"/>
          </a:xfrm>
          <a:custGeom>
            <a:avLst/>
            <a:gdLst>
              <a:gd name="connsiteX0" fmla="*/ 3288083 w 5210478"/>
              <a:gd name="connsiteY0" fmla="*/ 28935 h 5548193"/>
              <a:gd name="connsiteX1" fmla="*/ 3167591 w 5210478"/>
              <a:gd name="connsiteY1" fmla="*/ 130757 h 5548193"/>
              <a:gd name="connsiteX2" fmla="*/ 45391 w 5210478"/>
              <a:gd name="connsiteY2" fmla="*/ 2660597 h 5548193"/>
              <a:gd name="connsiteX3" fmla="*/ 2529 w 5210478"/>
              <a:gd name="connsiteY3" fmla="*/ 2780612 h 5548193"/>
              <a:gd name="connsiteX4" fmla="*/ 556027 w 5210478"/>
              <a:gd name="connsiteY4" fmla="*/ 5450565 h 5548193"/>
              <a:gd name="connsiteX5" fmla="*/ 700807 w 5210478"/>
              <a:gd name="connsiteY5" fmla="*/ 5545624 h 5548193"/>
              <a:gd name="connsiteX6" fmla="*/ 5112787 w 5210478"/>
              <a:gd name="connsiteY6" fmla="*/ 4631415 h 5548193"/>
              <a:gd name="connsiteX7" fmla="*/ 5207846 w 5210478"/>
              <a:gd name="connsiteY7" fmla="*/ 4486350 h 5548193"/>
              <a:gd name="connsiteX8" fmla="*/ 4907333 w 5210478"/>
              <a:gd name="connsiteY8" fmla="*/ 3052265 h 5548193"/>
              <a:gd name="connsiteX9" fmla="*/ 3564879 w 5210478"/>
              <a:gd name="connsiteY9" fmla="*/ 161713 h 5548193"/>
              <a:gd name="connsiteX10" fmla="*/ 3459152 w 5210478"/>
              <a:gd name="connsiteY10" fmla="*/ 41603 h 5548193"/>
              <a:gd name="connsiteX11" fmla="*/ 3288083 w 5210478"/>
              <a:gd name="connsiteY11" fmla="*/ 28935 h 5548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210478" h="5548193">
                <a:moveTo>
                  <a:pt x="3288083" y="28935"/>
                </a:moveTo>
                <a:lnTo>
                  <a:pt x="3167591" y="130757"/>
                </a:lnTo>
                <a:lnTo>
                  <a:pt x="45391" y="2660597"/>
                </a:lnTo>
                <a:cubicBezTo>
                  <a:pt x="9768" y="2689458"/>
                  <a:pt x="-6710" y="2735750"/>
                  <a:pt x="2529" y="2780612"/>
                </a:cubicBezTo>
                <a:lnTo>
                  <a:pt x="556027" y="5450565"/>
                </a:lnTo>
                <a:cubicBezTo>
                  <a:pt x="569743" y="5516764"/>
                  <a:pt x="634608" y="5559340"/>
                  <a:pt x="700807" y="5545624"/>
                </a:cubicBezTo>
                <a:lnTo>
                  <a:pt x="5112787" y="4631415"/>
                </a:lnTo>
                <a:cubicBezTo>
                  <a:pt x="5179176" y="4617699"/>
                  <a:pt x="5221753" y="4552643"/>
                  <a:pt x="5207846" y="4486350"/>
                </a:cubicBezTo>
                <a:lnTo>
                  <a:pt x="4907333" y="3052265"/>
                </a:lnTo>
                <a:cubicBezTo>
                  <a:pt x="4663112" y="1855925"/>
                  <a:pt x="4207436" y="890947"/>
                  <a:pt x="3564879" y="161713"/>
                </a:cubicBezTo>
                <a:lnTo>
                  <a:pt x="3459152" y="41603"/>
                </a:lnTo>
                <a:cubicBezTo>
                  <a:pt x="3415051" y="-8498"/>
                  <a:pt x="3339041" y="-14118"/>
                  <a:pt x="3288083" y="28935"/>
                </a:cubicBezTo>
                <a:close/>
              </a:path>
            </a:pathLst>
          </a:custGeom>
          <a:noFill/>
          <a:ln w="9525" cap="flat">
            <a:solidFill>
              <a:srgbClr val="B7ADE4">
                <a:alpha val="2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5" name="Tekstvak 4"/>
          <p:cNvSpPr txBox="1"/>
          <p:nvPr userDrawn="1"/>
        </p:nvSpPr>
        <p:spPr>
          <a:xfrm>
            <a:off x="-10750" y="-662296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0" kern="1200" spc="50" baseline="0">
                <a:solidFill>
                  <a:schemeClr val="accent2"/>
                </a:solidFill>
                <a:latin typeface="+mn-lt"/>
                <a:ea typeface="+mn-ea"/>
                <a:cs typeface="Calibri" panose="020F0502020204030204" pitchFamily="34" charset="0"/>
              </a:rPr>
              <a:t>Quote slide #2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1253527" y="1852850"/>
            <a:ext cx="9684947" cy="3152301"/>
          </a:xfr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lace your text or quote here</a:t>
            </a:r>
            <a:endParaRPr lang="en-US"/>
          </a:p>
        </p:txBody>
      </p:sp>
      <p:grpSp>
        <p:nvGrpSpPr>
          <p:cNvPr id="26" name="Graphic 17">
            <a:extLst>
              <a:ext uri="{FF2B5EF4-FFF2-40B4-BE49-F238E27FC236}">
                <a16:creationId xmlns:a16="http://schemas.microsoft.com/office/drawing/2014/main" id="{FDE727B4-B8C6-4AAF-99EF-12A734725878}"/>
              </a:ext>
            </a:extLst>
          </p:cNvPr>
          <p:cNvGrpSpPr/>
          <p:nvPr userDrawn="1"/>
        </p:nvGrpSpPr>
        <p:grpSpPr>
          <a:xfrm>
            <a:off x="696136" y="6432477"/>
            <a:ext cx="1356870" cy="99501"/>
            <a:chOff x="4557712" y="3314700"/>
            <a:chExt cx="3074479" cy="225456"/>
          </a:xfrm>
          <a:solidFill>
            <a:schemeClr val="bg1"/>
          </a:solidFill>
        </p:grpSpPr>
        <p:sp>
          <p:nvSpPr>
            <p:cNvPr id="27" name="Vrije vorm: vorm 26">
              <a:extLst>
                <a:ext uri="{FF2B5EF4-FFF2-40B4-BE49-F238E27FC236}">
                  <a16:creationId xmlns:a16="http://schemas.microsoft.com/office/drawing/2014/main" id="{D67A0EBC-0B43-46DE-8587-2E490BBE2FBB}"/>
                </a:ext>
              </a:extLst>
            </p:cNvPr>
            <p:cNvSpPr/>
            <p:nvPr/>
          </p:nvSpPr>
          <p:spPr>
            <a:xfrm>
              <a:off x="4557712" y="3316033"/>
              <a:ext cx="157448" cy="220218"/>
            </a:xfrm>
            <a:custGeom>
              <a:avLst/>
              <a:gdLst>
                <a:gd name="connsiteX0" fmla="*/ 116205 w 157448"/>
                <a:gd name="connsiteY0" fmla="*/ 103346 h 220218"/>
                <a:gd name="connsiteX1" fmla="*/ 116205 w 157448"/>
                <a:gd name="connsiteY1" fmla="*/ 102013 h 220218"/>
                <a:gd name="connsiteX2" fmla="*/ 146209 w 157448"/>
                <a:gd name="connsiteY2" fmla="*/ 54197 h 220218"/>
                <a:gd name="connsiteX3" fmla="*/ 68961 w 157448"/>
                <a:gd name="connsiteY3" fmla="*/ 0 h 220218"/>
                <a:gd name="connsiteX4" fmla="*/ 0 w 157448"/>
                <a:gd name="connsiteY4" fmla="*/ 0 h 220218"/>
                <a:gd name="connsiteX5" fmla="*/ 0 w 157448"/>
                <a:gd name="connsiteY5" fmla="*/ 220218 h 220218"/>
                <a:gd name="connsiteX6" fmla="*/ 74581 w 157448"/>
                <a:gd name="connsiteY6" fmla="*/ 220218 h 220218"/>
                <a:gd name="connsiteX7" fmla="*/ 157448 w 157448"/>
                <a:gd name="connsiteY7" fmla="*/ 155543 h 220218"/>
                <a:gd name="connsiteX8" fmla="*/ 116205 w 157448"/>
                <a:gd name="connsiteY8" fmla="*/ 103346 h 220218"/>
                <a:gd name="connsiteX9" fmla="*/ 38291 w 157448"/>
                <a:gd name="connsiteY9" fmla="*/ 30290 h 220218"/>
                <a:gd name="connsiteX10" fmla="*/ 66389 w 157448"/>
                <a:gd name="connsiteY10" fmla="*/ 30290 h 220218"/>
                <a:gd name="connsiteX11" fmla="*/ 108680 w 157448"/>
                <a:gd name="connsiteY11" fmla="*/ 59912 h 220218"/>
                <a:gd name="connsiteX12" fmla="*/ 65818 w 157448"/>
                <a:gd name="connsiteY12" fmla="*/ 90869 h 220218"/>
                <a:gd name="connsiteX13" fmla="*/ 38291 w 157448"/>
                <a:gd name="connsiteY13" fmla="*/ 90869 h 220218"/>
                <a:gd name="connsiteX14" fmla="*/ 38291 w 157448"/>
                <a:gd name="connsiteY14" fmla="*/ 30290 h 220218"/>
                <a:gd name="connsiteX15" fmla="*/ 70676 w 157448"/>
                <a:gd name="connsiteY15" fmla="*/ 189833 h 220218"/>
                <a:gd name="connsiteX16" fmla="*/ 38291 w 157448"/>
                <a:gd name="connsiteY16" fmla="*/ 189833 h 220218"/>
                <a:gd name="connsiteX17" fmla="*/ 38291 w 157448"/>
                <a:gd name="connsiteY17" fmla="*/ 120110 h 220218"/>
                <a:gd name="connsiteX18" fmla="*/ 70676 w 157448"/>
                <a:gd name="connsiteY18" fmla="*/ 120110 h 220218"/>
                <a:gd name="connsiteX19" fmla="*/ 120206 w 157448"/>
                <a:gd name="connsiteY19" fmla="*/ 153448 h 220218"/>
                <a:gd name="connsiteX20" fmla="*/ 70676 w 157448"/>
                <a:gd name="connsiteY20" fmla="*/ 189833 h 220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57448" h="220218">
                  <a:moveTo>
                    <a:pt x="116205" y="103346"/>
                  </a:moveTo>
                  <a:lnTo>
                    <a:pt x="116205" y="102013"/>
                  </a:lnTo>
                  <a:cubicBezTo>
                    <a:pt x="135065" y="95250"/>
                    <a:pt x="146209" y="75057"/>
                    <a:pt x="146209" y="54197"/>
                  </a:cubicBezTo>
                  <a:cubicBezTo>
                    <a:pt x="146209" y="13811"/>
                    <a:pt x="113538" y="0"/>
                    <a:pt x="68961" y="0"/>
                  </a:cubicBezTo>
                  <a:lnTo>
                    <a:pt x="0" y="0"/>
                  </a:lnTo>
                  <a:lnTo>
                    <a:pt x="0" y="220218"/>
                  </a:lnTo>
                  <a:lnTo>
                    <a:pt x="74581" y="220218"/>
                  </a:lnTo>
                  <a:cubicBezTo>
                    <a:pt x="122111" y="220218"/>
                    <a:pt x="157448" y="199644"/>
                    <a:pt x="157448" y="155543"/>
                  </a:cubicBezTo>
                  <a:cubicBezTo>
                    <a:pt x="157448" y="125921"/>
                    <a:pt x="139922" y="108680"/>
                    <a:pt x="116205" y="103346"/>
                  </a:cubicBezTo>
                  <a:close/>
                  <a:moveTo>
                    <a:pt x="38291" y="30290"/>
                  </a:moveTo>
                  <a:lnTo>
                    <a:pt x="66389" y="30290"/>
                  </a:lnTo>
                  <a:cubicBezTo>
                    <a:pt x="94488" y="30290"/>
                    <a:pt x="108680" y="38386"/>
                    <a:pt x="108680" y="59912"/>
                  </a:cubicBezTo>
                  <a:cubicBezTo>
                    <a:pt x="108680" y="78772"/>
                    <a:pt x="95822" y="90869"/>
                    <a:pt x="65818" y="90869"/>
                  </a:cubicBezTo>
                  <a:lnTo>
                    <a:pt x="38291" y="90869"/>
                  </a:lnTo>
                  <a:lnTo>
                    <a:pt x="38291" y="30290"/>
                  </a:lnTo>
                  <a:close/>
                  <a:moveTo>
                    <a:pt x="70676" y="189833"/>
                  </a:moveTo>
                  <a:lnTo>
                    <a:pt x="38291" y="189833"/>
                  </a:lnTo>
                  <a:lnTo>
                    <a:pt x="38291" y="120110"/>
                  </a:lnTo>
                  <a:lnTo>
                    <a:pt x="70676" y="120110"/>
                  </a:lnTo>
                  <a:cubicBezTo>
                    <a:pt x="103061" y="120110"/>
                    <a:pt x="120206" y="130207"/>
                    <a:pt x="120206" y="153448"/>
                  </a:cubicBezTo>
                  <a:cubicBezTo>
                    <a:pt x="120110" y="178118"/>
                    <a:pt x="102299" y="189833"/>
                    <a:pt x="70676" y="18983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Vrije vorm: vorm 27">
              <a:extLst>
                <a:ext uri="{FF2B5EF4-FFF2-40B4-BE49-F238E27FC236}">
                  <a16:creationId xmlns:a16="http://schemas.microsoft.com/office/drawing/2014/main" id="{54FFFA50-4050-4357-933D-80849754B0E8}"/>
                </a:ext>
              </a:extLst>
            </p:cNvPr>
            <p:cNvSpPr/>
            <p:nvPr/>
          </p:nvSpPr>
          <p:spPr>
            <a:xfrm>
              <a:off x="4758118" y="3315938"/>
              <a:ext cx="162686" cy="220218"/>
            </a:xfrm>
            <a:custGeom>
              <a:avLst/>
              <a:gdLst>
                <a:gd name="connsiteX0" fmla="*/ 57721 w 162686"/>
                <a:gd name="connsiteY0" fmla="*/ 0 h 220218"/>
                <a:gd name="connsiteX1" fmla="*/ 0 w 162686"/>
                <a:gd name="connsiteY1" fmla="*/ 0 h 220218"/>
                <a:gd name="connsiteX2" fmla="*/ 0 w 162686"/>
                <a:gd name="connsiteY2" fmla="*/ 220218 h 220218"/>
                <a:gd name="connsiteX3" fmla="*/ 59722 w 162686"/>
                <a:gd name="connsiteY3" fmla="*/ 220218 h 220218"/>
                <a:gd name="connsiteX4" fmla="*/ 162687 w 162686"/>
                <a:gd name="connsiteY4" fmla="*/ 109061 h 220218"/>
                <a:gd name="connsiteX5" fmla="*/ 57721 w 162686"/>
                <a:gd name="connsiteY5" fmla="*/ 0 h 220218"/>
                <a:gd name="connsiteX6" fmla="*/ 55054 w 162686"/>
                <a:gd name="connsiteY6" fmla="*/ 188595 h 220218"/>
                <a:gd name="connsiteX7" fmla="*/ 38195 w 162686"/>
                <a:gd name="connsiteY7" fmla="*/ 188595 h 220218"/>
                <a:gd name="connsiteX8" fmla="*/ 38195 w 162686"/>
                <a:gd name="connsiteY8" fmla="*/ 31718 h 220218"/>
                <a:gd name="connsiteX9" fmla="*/ 55054 w 162686"/>
                <a:gd name="connsiteY9" fmla="*/ 31718 h 220218"/>
                <a:gd name="connsiteX10" fmla="*/ 123349 w 162686"/>
                <a:gd name="connsiteY10" fmla="*/ 109157 h 220218"/>
                <a:gd name="connsiteX11" fmla="*/ 55054 w 162686"/>
                <a:gd name="connsiteY11" fmla="*/ 188595 h 220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2686" h="220218">
                  <a:moveTo>
                    <a:pt x="57721" y="0"/>
                  </a:moveTo>
                  <a:lnTo>
                    <a:pt x="0" y="0"/>
                  </a:lnTo>
                  <a:lnTo>
                    <a:pt x="0" y="220218"/>
                  </a:lnTo>
                  <a:lnTo>
                    <a:pt x="59722" y="220218"/>
                  </a:lnTo>
                  <a:cubicBezTo>
                    <a:pt x="123730" y="220218"/>
                    <a:pt x="162687" y="182118"/>
                    <a:pt x="162687" y="109061"/>
                  </a:cubicBezTo>
                  <a:cubicBezTo>
                    <a:pt x="162687" y="36386"/>
                    <a:pt x="123730" y="0"/>
                    <a:pt x="57721" y="0"/>
                  </a:cubicBezTo>
                  <a:close/>
                  <a:moveTo>
                    <a:pt x="55054" y="188595"/>
                  </a:moveTo>
                  <a:lnTo>
                    <a:pt x="38195" y="188595"/>
                  </a:lnTo>
                  <a:lnTo>
                    <a:pt x="38195" y="31718"/>
                  </a:lnTo>
                  <a:lnTo>
                    <a:pt x="55054" y="31718"/>
                  </a:lnTo>
                  <a:cubicBezTo>
                    <a:pt x="98584" y="31718"/>
                    <a:pt x="123349" y="55245"/>
                    <a:pt x="123349" y="109157"/>
                  </a:cubicBezTo>
                  <a:cubicBezTo>
                    <a:pt x="123444" y="163354"/>
                    <a:pt x="98679" y="188595"/>
                    <a:pt x="55054" y="18859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Vrije vorm: vorm 28">
              <a:extLst>
                <a:ext uri="{FF2B5EF4-FFF2-40B4-BE49-F238E27FC236}">
                  <a16:creationId xmlns:a16="http://schemas.microsoft.com/office/drawing/2014/main" id="{ECFF7081-5364-4993-90BA-08971F6548AA}"/>
                </a:ext>
              </a:extLst>
            </p:cNvPr>
            <p:cNvSpPr/>
            <p:nvPr/>
          </p:nvSpPr>
          <p:spPr>
            <a:xfrm>
              <a:off x="4967382" y="3315938"/>
              <a:ext cx="160782" cy="220218"/>
            </a:xfrm>
            <a:custGeom>
              <a:avLst/>
              <a:gdLst>
                <a:gd name="connsiteX0" fmla="*/ 152210 w 160782"/>
                <a:gd name="connsiteY0" fmla="*/ 65341 h 220218"/>
                <a:gd name="connsiteX1" fmla="*/ 72962 w 160782"/>
                <a:gd name="connsiteY1" fmla="*/ 0 h 220218"/>
                <a:gd name="connsiteX2" fmla="*/ 0 w 160782"/>
                <a:gd name="connsiteY2" fmla="*/ 0 h 220218"/>
                <a:gd name="connsiteX3" fmla="*/ 0 w 160782"/>
                <a:gd name="connsiteY3" fmla="*/ 220218 h 220218"/>
                <a:gd name="connsiteX4" fmla="*/ 38291 w 160782"/>
                <a:gd name="connsiteY4" fmla="*/ 220218 h 220218"/>
                <a:gd name="connsiteX5" fmla="*/ 38291 w 160782"/>
                <a:gd name="connsiteY5" fmla="*/ 134017 h 220218"/>
                <a:gd name="connsiteX6" fmla="*/ 71342 w 160782"/>
                <a:gd name="connsiteY6" fmla="*/ 134017 h 220218"/>
                <a:gd name="connsiteX7" fmla="*/ 117920 w 160782"/>
                <a:gd name="connsiteY7" fmla="*/ 220218 h 220218"/>
                <a:gd name="connsiteX8" fmla="*/ 160782 w 160782"/>
                <a:gd name="connsiteY8" fmla="*/ 220218 h 220218"/>
                <a:gd name="connsiteX9" fmla="*/ 109252 w 160782"/>
                <a:gd name="connsiteY9" fmla="*/ 128302 h 220218"/>
                <a:gd name="connsiteX10" fmla="*/ 152210 w 160782"/>
                <a:gd name="connsiteY10" fmla="*/ 65341 h 220218"/>
                <a:gd name="connsiteX11" fmla="*/ 68961 w 160782"/>
                <a:gd name="connsiteY11" fmla="*/ 103061 h 220218"/>
                <a:gd name="connsiteX12" fmla="*/ 38291 w 160782"/>
                <a:gd name="connsiteY12" fmla="*/ 103061 h 220218"/>
                <a:gd name="connsiteX13" fmla="*/ 38291 w 160782"/>
                <a:gd name="connsiteY13" fmla="*/ 31337 h 220218"/>
                <a:gd name="connsiteX14" fmla="*/ 68961 w 160782"/>
                <a:gd name="connsiteY14" fmla="*/ 31337 h 220218"/>
                <a:gd name="connsiteX15" fmla="*/ 114491 w 160782"/>
                <a:gd name="connsiteY15" fmla="*/ 65341 h 220218"/>
                <a:gd name="connsiteX16" fmla="*/ 68961 w 160782"/>
                <a:gd name="connsiteY16" fmla="*/ 103061 h 220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60782" h="220218">
                  <a:moveTo>
                    <a:pt x="152210" y="65341"/>
                  </a:moveTo>
                  <a:cubicBezTo>
                    <a:pt x="152210" y="16193"/>
                    <a:pt x="117920" y="0"/>
                    <a:pt x="72962" y="0"/>
                  </a:cubicBezTo>
                  <a:lnTo>
                    <a:pt x="0" y="0"/>
                  </a:lnTo>
                  <a:lnTo>
                    <a:pt x="0" y="220218"/>
                  </a:lnTo>
                  <a:lnTo>
                    <a:pt x="38291" y="220218"/>
                  </a:lnTo>
                  <a:lnTo>
                    <a:pt x="38291" y="134017"/>
                  </a:lnTo>
                  <a:lnTo>
                    <a:pt x="71342" y="134017"/>
                  </a:lnTo>
                  <a:lnTo>
                    <a:pt x="117920" y="220218"/>
                  </a:lnTo>
                  <a:lnTo>
                    <a:pt x="160782" y="220218"/>
                  </a:lnTo>
                  <a:lnTo>
                    <a:pt x="109252" y="128302"/>
                  </a:lnTo>
                  <a:cubicBezTo>
                    <a:pt x="134969" y="119253"/>
                    <a:pt x="152210" y="99060"/>
                    <a:pt x="152210" y="65341"/>
                  </a:cubicBezTo>
                  <a:close/>
                  <a:moveTo>
                    <a:pt x="68961" y="103061"/>
                  </a:moveTo>
                  <a:lnTo>
                    <a:pt x="38291" y="103061"/>
                  </a:lnTo>
                  <a:lnTo>
                    <a:pt x="38291" y="31337"/>
                  </a:lnTo>
                  <a:lnTo>
                    <a:pt x="68961" y="31337"/>
                  </a:lnTo>
                  <a:cubicBezTo>
                    <a:pt x="98298" y="31337"/>
                    <a:pt x="114491" y="40100"/>
                    <a:pt x="114491" y="65341"/>
                  </a:cubicBezTo>
                  <a:cubicBezTo>
                    <a:pt x="114586" y="90297"/>
                    <a:pt x="98393" y="103061"/>
                    <a:pt x="68961" y="1030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Vrije vorm: vorm 29">
              <a:extLst>
                <a:ext uri="{FF2B5EF4-FFF2-40B4-BE49-F238E27FC236}">
                  <a16:creationId xmlns:a16="http://schemas.microsoft.com/office/drawing/2014/main" id="{4465F5B0-9708-4629-8959-6F863BD377ED}"/>
                </a:ext>
              </a:extLst>
            </p:cNvPr>
            <p:cNvSpPr/>
            <p:nvPr/>
          </p:nvSpPr>
          <p:spPr>
            <a:xfrm>
              <a:off x="5194553" y="3315938"/>
              <a:ext cx="163068" cy="220313"/>
            </a:xfrm>
            <a:custGeom>
              <a:avLst/>
              <a:gdLst>
                <a:gd name="connsiteX0" fmla="*/ 0 w 163068"/>
                <a:gd name="connsiteY0" fmla="*/ 33052 h 220313"/>
                <a:gd name="connsiteX1" fmla="*/ 62389 w 163068"/>
                <a:gd name="connsiteY1" fmla="*/ 33052 h 220313"/>
                <a:gd name="connsiteX2" fmla="*/ 62389 w 163068"/>
                <a:gd name="connsiteY2" fmla="*/ 220313 h 220313"/>
                <a:gd name="connsiteX3" fmla="*/ 100679 w 163068"/>
                <a:gd name="connsiteY3" fmla="*/ 220313 h 220313"/>
                <a:gd name="connsiteX4" fmla="*/ 100679 w 163068"/>
                <a:gd name="connsiteY4" fmla="*/ 33052 h 220313"/>
                <a:gd name="connsiteX5" fmla="*/ 163068 w 163068"/>
                <a:gd name="connsiteY5" fmla="*/ 33052 h 220313"/>
                <a:gd name="connsiteX6" fmla="*/ 163068 w 163068"/>
                <a:gd name="connsiteY6" fmla="*/ 0 h 220313"/>
                <a:gd name="connsiteX7" fmla="*/ 0 w 163068"/>
                <a:gd name="connsiteY7" fmla="*/ 0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068" h="220313">
                  <a:moveTo>
                    <a:pt x="0" y="33052"/>
                  </a:moveTo>
                  <a:lnTo>
                    <a:pt x="62389" y="33052"/>
                  </a:lnTo>
                  <a:lnTo>
                    <a:pt x="62389" y="220313"/>
                  </a:lnTo>
                  <a:lnTo>
                    <a:pt x="100679" y="220313"/>
                  </a:lnTo>
                  <a:lnTo>
                    <a:pt x="100679" y="33052"/>
                  </a:lnTo>
                  <a:lnTo>
                    <a:pt x="163068" y="33052"/>
                  </a:lnTo>
                  <a:lnTo>
                    <a:pt x="16306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Vrije vorm: vorm 30">
              <a:extLst>
                <a:ext uri="{FF2B5EF4-FFF2-40B4-BE49-F238E27FC236}">
                  <a16:creationId xmlns:a16="http://schemas.microsoft.com/office/drawing/2014/main" id="{F48E79A5-119E-4E04-BD3F-C0DB3D54C57C}"/>
                </a:ext>
              </a:extLst>
            </p:cNvPr>
            <p:cNvSpPr/>
            <p:nvPr/>
          </p:nvSpPr>
          <p:spPr>
            <a:xfrm>
              <a:off x="5396864" y="3315938"/>
              <a:ext cx="164020" cy="220313"/>
            </a:xfrm>
            <a:custGeom>
              <a:avLst/>
              <a:gdLst>
                <a:gd name="connsiteX0" fmla="*/ 125730 w 164020"/>
                <a:gd name="connsiteY0" fmla="*/ 88583 h 220313"/>
                <a:gd name="connsiteX1" fmla="*/ 38291 w 164020"/>
                <a:gd name="connsiteY1" fmla="*/ 88583 h 220313"/>
                <a:gd name="connsiteX2" fmla="*/ 38291 w 164020"/>
                <a:gd name="connsiteY2" fmla="*/ 0 h 220313"/>
                <a:gd name="connsiteX3" fmla="*/ 0 w 164020"/>
                <a:gd name="connsiteY3" fmla="*/ 0 h 220313"/>
                <a:gd name="connsiteX4" fmla="*/ 0 w 164020"/>
                <a:gd name="connsiteY4" fmla="*/ 220313 h 220313"/>
                <a:gd name="connsiteX5" fmla="*/ 38291 w 164020"/>
                <a:gd name="connsiteY5" fmla="*/ 220313 h 220313"/>
                <a:gd name="connsiteX6" fmla="*/ 38291 w 164020"/>
                <a:gd name="connsiteY6" fmla="*/ 122587 h 220313"/>
                <a:gd name="connsiteX7" fmla="*/ 125730 w 164020"/>
                <a:gd name="connsiteY7" fmla="*/ 122587 h 220313"/>
                <a:gd name="connsiteX8" fmla="*/ 125730 w 164020"/>
                <a:gd name="connsiteY8" fmla="*/ 220313 h 220313"/>
                <a:gd name="connsiteX9" fmla="*/ 164021 w 164020"/>
                <a:gd name="connsiteY9" fmla="*/ 220313 h 220313"/>
                <a:gd name="connsiteX10" fmla="*/ 164021 w 164020"/>
                <a:gd name="connsiteY10" fmla="*/ 0 h 220313"/>
                <a:gd name="connsiteX11" fmla="*/ 125730 w 164020"/>
                <a:gd name="connsiteY11" fmla="*/ 0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4020" h="220313">
                  <a:moveTo>
                    <a:pt x="125730" y="88583"/>
                  </a:moveTo>
                  <a:lnTo>
                    <a:pt x="38291" y="88583"/>
                  </a:lnTo>
                  <a:lnTo>
                    <a:pt x="38291" y="0"/>
                  </a:lnTo>
                  <a:lnTo>
                    <a:pt x="0" y="0"/>
                  </a:lnTo>
                  <a:lnTo>
                    <a:pt x="0" y="220313"/>
                  </a:lnTo>
                  <a:lnTo>
                    <a:pt x="38291" y="220313"/>
                  </a:lnTo>
                  <a:lnTo>
                    <a:pt x="38291" y="122587"/>
                  </a:lnTo>
                  <a:lnTo>
                    <a:pt x="125730" y="122587"/>
                  </a:lnTo>
                  <a:lnTo>
                    <a:pt x="125730" y="220313"/>
                  </a:lnTo>
                  <a:lnTo>
                    <a:pt x="164021" y="220313"/>
                  </a:lnTo>
                  <a:lnTo>
                    <a:pt x="164021" y="0"/>
                  </a:lnTo>
                  <a:lnTo>
                    <a:pt x="12573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Vrije vorm: vorm 31">
              <a:extLst>
                <a:ext uri="{FF2B5EF4-FFF2-40B4-BE49-F238E27FC236}">
                  <a16:creationId xmlns:a16="http://schemas.microsoft.com/office/drawing/2014/main" id="{C4166F02-C92D-4EF0-846F-95287CDE064C}"/>
                </a:ext>
              </a:extLst>
            </p:cNvPr>
            <p:cNvSpPr/>
            <p:nvPr/>
          </p:nvSpPr>
          <p:spPr>
            <a:xfrm>
              <a:off x="5619082" y="3315938"/>
              <a:ext cx="133350" cy="220313"/>
            </a:xfrm>
            <a:custGeom>
              <a:avLst/>
              <a:gdLst>
                <a:gd name="connsiteX0" fmla="*/ 38290 w 133350"/>
                <a:gd name="connsiteY0" fmla="*/ 122301 h 220313"/>
                <a:gd name="connsiteX1" fmla="*/ 115824 w 133350"/>
                <a:gd name="connsiteY1" fmla="*/ 122301 h 220313"/>
                <a:gd name="connsiteX2" fmla="*/ 115824 w 133350"/>
                <a:gd name="connsiteY2" fmla="*/ 89249 h 220313"/>
                <a:gd name="connsiteX3" fmla="*/ 38290 w 133350"/>
                <a:gd name="connsiteY3" fmla="*/ 89249 h 220313"/>
                <a:gd name="connsiteX4" fmla="*/ 38290 w 133350"/>
                <a:gd name="connsiteY4" fmla="*/ 33052 h 220313"/>
                <a:gd name="connsiteX5" fmla="*/ 130016 w 133350"/>
                <a:gd name="connsiteY5" fmla="*/ 33052 h 220313"/>
                <a:gd name="connsiteX6" fmla="*/ 130016 w 133350"/>
                <a:gd name="connsiteY6" fmla="*/ 0 h 220313"/>
                <a:gd name="connsiteX7" fmla="*/ 0 w 133350"/>
                <a:gd name="connsiteY7" fmla="*/ 0 h 220313"/>
                <a:gd name="connsiteX8" fmla="*/ 0 w 133350"/>
                <a:gd name="connsiteY8" fmla="*/ 220313 h 220313"/>
                <a:gd name="connsiteX9" fmla="*/ 133350 w 133350"/>
                <a:gd name="connsiteY9" fmla="*/ 220313 h 220313"/>
                <a:gd name="connsiteX10" fmla="*/ 133350 w 133350"/>
                <a:gd name="connsiteY10" fmla="*/ 187262 h 220313"/>
                <a:gd name="connsiteX11" fmla="*/ 38290 w 133350"/>
                <a:gd name="connsiteY11" fmla="*/ 187262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3350" h="220313">
                  <a:moveTo>
                    <a:pt x="38290" y="122301"/>
                  </a:moveTo>
                  <a:lnTo>
                    <a:pt x="115824" y="122301"/>
                  </a:lnTo>
                  <a:lnTo>
                    <a:pt x="115824" y="89249"/>
                  </a:lnTo>
                  <a:lnTo>
                    <a:pt x="38290" y="89249"/>
                  </a:lnTo>
                  <a:lnTo>
                    <a:pt x="38290" y="33052"/>
                  </a:lnTo>
                  <a:lnTo>
                    <a:pt x="130016" y="33052"/>
                  </a:lnTo>
                  <a:lnTo>
                    <a:pt x="130016" y="0"/>
                  </a:lnTo>
                  <a:lnTo>
                    <a:pt x="0" y="0"/>
                  </a:lnTo>
                  <a:lnTo>
                    <a:pt x="0" y="220313"/>
                  </a:lnTo>
                  <a:lnTo>
                    <a:pt x="133350" y="220313"/>
                  </a:lnTo>
                  <a:lnTo>
                    <a:pt x="133350" y="187262"/>
                  </a:lnTo>
                  <a:lnTo>
                    <a:pt x="38290" y="1872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Vrije vorm: vorm 32">
              <a:extLst>
                <a:ext uri="{FF2B5EF4-FFF2-40B4-BE49-F238E27FC236}">
                  <a16:creationId xmlns:a16="http://schemas.microsoft.com/office/drawing/2014/main" id="{C2DFCFA6-E10D-4EC9-A126-026EF702FBD9}"/>
                </a:ext>
              </a:extLst>
            </p:cNvPr>
            <p:cNvSpPr/>
            <p:nvPr/>
          </p:nvSpPr>
          <p:spPr>
            <a:xfrm>
              <a:off x="5799581" y="3315938"/>
              <a:ext cx="160781" cy="220218"/>
            </a:xfrm>
            <a:custGeom>
              <a:avLst/>
              <a:gdLst>
                <a:gd name="connsiteX0" fmla="*/ 152209 w 160781"/>
                <a:gd name="connsiteY0" fmla="*/ 65341 h 220218"/>
                <a:gd name="connsiteX1" fmla="*/ 72961 w 160781"/>
                <a:gd name="connsiteY1" fmla="*/ 0 h 220218"/>
                <a:gd name="connsiteX2" fmla="*/ 0 w 160781"/>
                <a:gd name="connsiteY2" fmla="*/ 0 h 220218"/>
                <a:gd name="connsiteX3" fmla="*/ 0 w 160781"/>
                <a:gd name="connsiteY3" fmla="*/ 220218 h 220218"/>
                <a:gd name="connsiteX4" fmla="*/ 38290 w 160781"/>
                <a:gd name="connsiteY4" fmla="*/ 220218 h 220218"/>
                <a:gd name="connsiteX5" fmla="*/ 38290 w 160781"/>
                <a:gd name="connsiteY5" fmla="*/ 134017 h 220218"/>
                <a:gd name="connsiteX6" fmla="*/ 71342 w 160781"/>
                <a:gd name="connsiteY6" fmla="*/ 134017 h 220218"/>
                <a:gd name="connsiteX7" fmla="*/ 117919 w 160781"/>
                <a:gd name="connsiteY7" fmla="*/ 220218 h 220218"/>
                <a:gd name="connsiteX8" fmla="*/ 160782 w 160781"/>
                <a:gd name="connsiteY8" fmla="*/ 220218 h 220218"/>
                <a:gd name="connsiteX9" fmla="*/ 109252 w 160781"/>
                <a:gd name="connsiteY9" fmla="*/ 128302 h 220218"/>
                <a:gd name="connsiteX10" fmla="*/ 152209 w 160781"/>
                <a:gd name="connsiteY10" fmla="*/ 65341 h 220218"/>
                <a:gd name="connsiteX11" fmla="*/ 69056 w 160781"/>
                <a:gd name="connsiteY11" fmla="*/ 103061 h 220218"/>
                <a:gd name="connsiteX12" fmla="*/ 38386 w 160781"/>
                <a:gd name="connsiteY12" fmla="*/ 103061 h 220218"/>
                <a:gd name="connsiteX13" fmla="*/ 38386 w 160781"/>
                <a:gd name="connsiteY13" fmla="*/ 31337 h 220218"/>
                <a:gd name="connsiteX14" fmla="*/ 69056 w 160781"/>
                <a:gd name="connsiteY14" fmla="*/ 31337 h 220218"/>
                <a:gd name="connsiteX15" fmla="*/ 114586 w 160781"/>
                <a:gd name="connsiteY15" fmla="*/ 65341 h 220218"/>
                <a:gd name="connsiteX16" fmla="*/ 69056 w 160781"/>
                <a:gd name="connsiteY16" fmla="*/ 103061 h 220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60781" h="220218">
                  <a:moveTo>
                    <a:pt x="152209" y="65341"/>
                  </a:moveTo>
                  <a:cubicBezTo>
                    <a:pt x="152209" y="16193"/>
                    <a:pt x="117919" y="0"/>
                    <a:pt x="72961" y="0"/>
                  </a:cubicBezTo>
                  <a:lnTo>
                    <a:pt x="0" y="0"/>
                  </a:lnTo>
                  <a:lnTo>
                    <a:pt x="0" y="220218"/>
                  </a:lnTo>
                  <a:lnTo>
                    <a:pt x="38290" y="220218"/>
                  </a:lnTo>
                  <a:lnTo>
                    <a:pt x="38290" y="134017"/>
                  </a:lnTo>
                  <a:lnTo>
                    <a:pt x="71342" y="134017"/>
                  </a:lnTo>
                  <a:lnTo>
                    <a:pt x="117919" y="220218"/>
                  </a:lnTo>
                  <a:lnTo>
                    <a:pt x="160782" y="220218"/>
                  </a:lnTo>
                  <a:lnTo>
                    <a:pt x="109252" y="128302"/>
                  </a:lnTo>
                  <a:cubicBezTo>
                    <a:pt x="135064" y="119253"/>
                    <a:pt x="152209" y="99060"/>
                    <a:pt x="152209" y="65341"/>
                  </a:cubicBezTo>
                  <a:close/>
                  <a:moveTo>
                    <a:pt x="69056" y="103061"/>
                  </a:moveTo>
                  <a:lnTo>
                    <a:pt x="38386" y="103061"/>
                  </a:lnTo>
                  <a:lnTo>
                    <a:pt x="38386" y="31337"/>
                  </a:lnTo>
                  <a:lnTo>
                    <a:pt x="69056" y="31337"/>
                  </a:lnTo>
                  <a:cubicBezTo>
                    <a:pt x="98393" y="31337"/>
                    <a:pt x="114586" y="40100"/>
                    <a:pt x="114586" y="65341"/>
                  </a:cubicBezTo>
                  <a:cubicBezTo>
                    <a:pt x="114586" y="90297"/>
                    <a:pt x="98393" y="103061"/>
                    <a:pt x="69056" y="1030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Vrije vorm: vorm 33">
              <a:extLst>
                <a:ext uri="{FF2B5EF4-FFF2-40B4-BE49-F238E27FC236}">
                  <a16:creationId xmlns:a16="http://schemas.microsoft.com/office/drawing/2014/main" id="{D69D3ED8-B2C7-441A-834B-E38BE6FCCEBB}"/>
                </a:ext>
              </a:extLst>
            </p:cNvPr>
            <p:cNvSpPr/>
            <p:nvPr/>
          </p:nvSpPr>
          <p:spPr>
            <a:xfrm>
              <a:off x="5998273" y="3315938"/>
              <a:ext cx="191166" cy="220313"/>
            </a:xfrm>
            <a:custGeom>
              <a:avLst/>
              <a:gdLst>
                <a:gd name="connsiteX0" fmla="*/ 110300 w 191166"/>
                <a:gd name="connsiteY0" fmla="*/ 107823 h 220313"/>
                <a:gd name="connsiteX1" fmla="*/ 96774 w 191166"/>
                <a:gd name="connsiteY1" fmla="*/ 150971 h 220313"/>
                <a:gd name="connsiteX2" fmla="*/ 95440 w 191166"/>
                <a:gd name="connsiteY2" fmla="*/ 150971 h 220313"/>
                <a:gd name="connsiteX3" fmla="*/ 81534 w 191166"/>
                <a:gd name="connsiteY3" fmla="*/ 107823 h 220313"/>
                <a:gd name="connsiteX4" fmla="*/ 43243 w 191166"/>
                <a:gd name="connsiteY4" fmla="*/ 95 h 220313"/>
                <a:gd name="connsiteX5" fmla="*/ 0 w 191166"/>
                <a:gd name="connsiteY5" fmla="*/ 95 h 220313"/>
                <a:gd name="connsiteX6" fmla="*/ 0 w 191166"/>
                <a:gd name="connsiteY6" fmla="*/ 220313 h 220313"/>
                <a:gd name="connsiteX7" fmla="*/ 34671 w 191166"/>
                <a:gd name="connsiteY7" fmla="*/ 220313 h 220313"/>
                <a:gd name="connsiteX8" fmla="*/ 34671 w 191166"/>
                <a:gd name="connsiteY8" fmla="*/ 119634 h 220313"/>
                <a:gd name="connsiteX9" fmla="*/ 29718 w 191166"/>
                <a:gd name="connsiteY9" fmla="*/ 49625 h 220313"/>
                <a:gd name="connsiteX10" fmla="*/ 31051 w 191166"/>
                <a:gd name="connsiteY10" fmla="*/ 49625 h 220313"/>
                <a:gd name="connsiteX11" fmla="*/ 48196 w 191166"/>
                <a:gd name="connsiteY11" fmla="*/ 100775 h 220313"/>
                <a:gd name="connsiteX12" fmla="*/ 83820 w 191166"/>
                <a:gd name="connsiteY12" fmla="*/ 199739 h 220313"/>
                <a:gd name="connsiteX13" fmla="*/ 106585 w 191166"/>
                <a:gd name="connsiteY13" fmla="*/ 199739 h 220313"/>
                <a:gd name="connsiteX14" fmla="*/ 141922 w 191166"/>
                <a:gd name="connsiteY14" fmla="*/ 100775 h 220313"/>
                <a:gd name="connsiteX15" fmla="*/ 159448 w 191166"/>
                <a:gd name="connsiteY15" fmla="*/ 49625 h 220313"/>
                <a:gd name="connsiteX16" fmla="*/ 160782 w 191166"/>
                <a:gd name="connsiteY16" fmla="*/ 49625 h 220313"/>
                <a:gd name="connsiteX17" fmla="*/ 155829 w 191166"/>
                <a:gd name="connsiteY17" fmla="*/ 119634 h 220313"/>
                <a:gd name="connsiteX18" fmla="*/ 155829 w 191166"/>
                <a:gd name="connsiteY18" fmla="*/ 220313 h 220313"/>
                <a:gd name="connsiteX19" fmla="*/ 191167 w 191166"/>
                <a:gd name="connsiteY19" fmla="*/ 220313 h 220313"/>
                <a:gd name="connsiteX20" fmla="*/ 191167 w 191166"/>
                <a:gd name="connsiteY20" fmla="*/ 0 h 220313"/>
                <a:gd name="connsiteX21" fmla="*/ 147638 w 191166"/>
                <a:gd name="connsiteY21" fmla="*/ 0 h 220313"/>
                <a:gd name="connsiteX22" fmla="*/ 110300 w 191166"/>
                <a:gd name="connsiteY22" fmla="*/ 107823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1166" h="220313">
                  <a:moveTo>
                    <a:pt x="110300" y="107823"/>
                  </a:moveTo>
                  <a:cubicBezTo>
                    <a:pt x="105632" y="121634"/>
                    <a:pt x="101346" y="136493"/>
                    <a:pt x="96774" y="150971"/>
                  </a:cubicBezTo>
                  <a:lnTo>
                    <a:pt x="95440" y="150971"/>
                  </a:lnTo>
                  <a:cubicBezTo>
                    <a:pt x="90868" y="136493"/>
                    <a:pt x="86201" y="121634"/>
                    <a:pt x="81534" y="107823"/>
                  </a:cubicBezTo>
                  <a:lnTo>
                    <a:pt x="43243" y="95"/>
                  </a:lnTo>
                  <a:lnTo>
                    <a:pt x="0" y="95"/>
                  </a:lnTo>
                  <a:lnTo>
                    <a:pt x="0" y="220313"/>
                  </a:lnTo>
                  <a:lnTo>
                    <a:pt x="34671" y="220313"/>
                  </a:lnTo>
                  <a:lnTo>
                    <a:pt x="34671" y="119634"/>
                  </a:lnTo>
                  <a:cubicBezTo>
                    <a:pt x="34671" y="99060"/>
                    <a:pt x="31337" y="69818"/>
                    <a:pt x="29718" y="49625"/>
                  </a:cubicBezTo>
                  <a:lnTo>
                    <a:pt x="31051" y="49625"/>
                  </a:lnTo>
                  <a:lnTo>
                    <a:pt x="48196" y="100775"/>
                  </a:lnTo>
                  <a:lnTo>
                    <a:pt x="83820" y="199739"/>
                  </a:lnTo>
                  <a:lnTo>
                    <a:pt x="106585" y="199739"/>
                  </a:lnTo>
                  <a:lnTo>
                    <a:pt x="141922" y="100775"/>
                  </a:lnTo>
                  <a:lnTo>
                    <a:pt x="159448" y="49625"/>
                  </a:lnTo>
                  <a:lnTo>
                    <a:pt x="160782" y="49625"/>
                  </a:lnTo>
                  <a:cubicBezTo>
                    <a:pt x="158782" y="69818"/>
                    <a:pt x="155829" y="99155"/>
                    <a:pt x="155829" y="119634"/>
                  </a:cubicBezTo>
                  <a:lnTo>
                    <a:pt x="155829" y="220313"/>
                  </a:lnTo>
                  <a:lnTo>
                    <a:pt x="191167" y="220313"/>
                  </a:lnTo>
                  <a:lnTo>
                    <a:pt x="191167" y="0"/>
                  </a:lnTo>
                  <a:lnTo>
                    <a:pt x="147638" y="0"/>
                  </a:lnTo>
                  <a:lnTo>
                    <a:pt x="110300" y="1078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Vrije vorm: vorm 34">
              <a:extLst>
                <a:ext uri="{FF2B5EF4-FFF2-40B4-BE49-F238E27FC236}">
                  <a16:creationId xmlns:a16="http://schemas.microsoft.com/office/drawing/2014/main" id="{5BA30A9A-F9BD-474A-AFD3-EA49FD67CC18}"/>
                </a:ext>
              </a:extLst>
            </p:cNvPr>
            <p:cNvSpPr/>
            <p:nvPr/>
          </p:nvSpPr>
          <p:spPr>
            <a:xfrm>
              <a:off x="6247256" y="3315938"/>
              <a:ext cx="133350" cy="220313"/>
            </a:xfrm>
            <a:custGeom>
              <a:avLst/>
              <a:gdLst>
                <a:gd name="connsiteX0" fmla="*/ 38290 w 133350"/>
                <a:gd name="connsiteY0" fmla="*/ 122301 h 220313"/>
                <a:gd name="connsiteX1" fmla="*/ 115824 w 133350"/>
                <a:gd name="connsiteY1" fmla="*/ 122301 h 220313"/>
                <a:gd name="connsiteX2" fmla="*/ 115824 w 133350"/>
                <a:gd name="connsiteY2" fmla="*/ 89249 h 220313"/>
                <a:gd name="connsiteX3" fmla="*/ 38290 w 133350"/>
                <a:gd name="connsiteY3" fmla="*/ 89249 h 220313"/>
                <a:gd name="connsiteX4" fmla="*/ 38290 w 133350"/>
                <a:gd name="connsiteY4" fmla="*/ 33052 h 220313"/>
                <a:gd name="connsiteX5" fmla="*/ 130111 w 133350"/>
                <a:gd name="connsiteY5" fmla="*/ 33052 h 220313"/>
                <a:gd name="connsiteX6" fmla="*/ 130111 w 133350"/>
                <a:gd name="connsiteY6" fmla="*/ 0 h 220313"/>
                <a:gd name="connsiteX7" fmla="*/ 0 w 133350"/>
                <a:gd name="connsiteY7" fmla="*/ 0 h 220313"/>
                <a:gd name="connsiteX8" fmla="*/ 0 w 133350"/>
                <a:gd name="connsiteY8" fmla="*/ 220313 h 220313"/>
                <a:gd name="connsiteX9" fmla="*/ 133350 w 133350"/>
                <a:gd name="connsiteY9" fmla="*/ 220313 h 220313"/>
                <a:gd name="connsiteX10" fmla="*/ 133350 w 133350"/>
                <a:gd name="connsiteY10" fmla="*/ 187262 h 220313"/>
                <a:gd name="connsiteX11" fmla="*/ 38290 w 133350"/>
                <a:gd name="connsiteY11" fmla="*/ 187262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3350" h="220313">
                  <a:moveTo>
                    <a:pt x="38290" y="122301"/>
                  </a:moveTo>
                  <a:lnTo>
                    <a:pt x="115824" y="122301"/>
                  </a:lnTo>
                  <a:lnTo>
                    <a:pt x="115824" y="89249"/>
                  </a:lnTo>
                  <a:lnTo>
                    <a:pt x="38290" y="89249"/>
                  </a:lnTo>
                  <a:lnTo>
                    <a:pt x="38290" y="33052"/>
                  </a:lnTo>
                  <a:lnTo>
                    <a:pt x="130111" y="33052"/>
                  </a:lnTo>
                  <a:lnTo>
                    <a:pt x="130111" y="0"/>
                  </a:lnTo>
                  <a:lnTo>
                    <a:pt x="0" y="0"/>
                  </a:lnTo>
                  <a:lnTo>
                    <a:pt x="0" y="220313"/>
                  </a:lnTo>
                  <a:lnTo>
                    <a:pt x="133350" y="220313"/>
                  </a:lnTo>
                  <a:lnTo>
                    <a:pt x="133350" y="187262"/>
                  </a:lnTo>
                  <a:lnTo>
                    <a:pt x="38290" y="1872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Vrije vorm: vorm 35">
              <a:extLst>
                <a:ext uri="{FF2B5EF4-FFF2-40B4-BE49-F238E27FC236}">
                  <a16:creationId xmlns:a16="http://schemas.microsoft.com/office/drawing/2014/main" id="{2905C2FD-37D3-4AE6-9F48-A74FAA58D83E}"/>
                </a:ext>
              </a:extLst>
            </p:cNvPr>
            <p:cNvSpPr/>
            <p:nvPr/>
          </p:nvSpPr>
          <p:spPr>
            <a:xfrm>
              <a:off x="6403085" y="3315938"/>
              <a:ext cx="185546" cy="220313"/>
            </a:xfrm>
            <a:custGeom>
              <a:avLst/>
              <a:gdLst>
                <a:gd name="connsiteX0" fmla="*/ 70294 w 185546"/>
                <a:gd name="connsiteY0" fmla="*/ 0 h 220313"/>
                <a:gd name="connsiteX1" fmla="*/ 0 w 185546"/>
                <a:gd name="connsiteY1" fmla="*/ 220218 h 220313"/>
                <a:gd name="connsiteX2" fmla="*/ 38957 w 185546"/>
                <a:gd name="connsiteY2" fmla="*/ 220218 h 220313"/>
                <a:gd name="connsiteX3" fmla="*/ 55817 w 185546"/>
                <a:gd name="connsiteY3" fmla="*/ 160687 h 220313"/>
                <a:gd name="connsiteX4" fmla="*/ 128397 w 185546"/>
                <a:gd name="connsiteY4" fmla="*/ 160687 h 220313"/>
                <a:gd name="connsiteX5" fmla="*/ 145256 w 185546"/>
                <a:gd name="connsiteY5" fmla="*/ 220313 h 220313"/>
                <a:gd name="connsiteX6" fmla="*/ 185547 w 185546"/>
                <a:gd name="connsiteY6" fmla="*/ 220313 h 220313"/>
                <a:gd name="connsiteX7" fmla="*/ 115252 w 185546"/>
                <a:gd name="connsiteY7" fmla="*/ 95 h 220313"/>
                <a:gd name="connsiteX8" fmla="*/ 70294 w 185546"/>
                <a:gd name="connsiteY8" fmla="*/ 95 h 220313"/>
                <a:gd name="connsiteX9" fmla="*/ 64675 w 185546"/>
                <a:gd name="connsiteY9" fmla="*/ 130016 h 220313"/>
                <a:gd name="connsiteX10" fmla="*/ 72295 w 185546"/>
                <a:gd name="connsiteY10" fmla="*/ 103061 h 220313"/>
                <a:gd name="connsiteX11" fmla="*/ 91440 w 185546"/>
                <a:gd name="connsiteY11" fmla="*/ 30290 h 220313"/>
                <a:gd name="connsiteX12" fmla="*/ 92773 w 185546"/>
                <a:gd name="connsiteY12" fmla="*/ 30290 h 220313"/>
                <a:gd name="connsiteX13" fmla="*/ 112204 w 185546"/>
                <a:gd name="connsiteY13" fmla="*/ 103061 h 220313"/>
                <a:gd name="connsiteX14" fmla="*/ 119825 w 185546"/>
                <a:gd name="connsiteY14" fmla="*/ 130016 h 220313"/>
                <a:gd name="connsiteX15" fmla="*/ 64675 w 185546"/>
                <a:gd name="connsiteY15" fmla="*/ 130016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5546" h="220313">
                  <a:moveTo>
                    <a:pt x="70294" y="0"/>
                  </a:moveTo>
                  <a:lnTo>
                    <a:pt x="0" y="220218"/>
                  </a:lnTo>
                  <a:lnTo>
                    <a:pt x="38957" y="220218"/>
                  </a:lnTo>
                  <a:lnTo>
                    <a:pt x="55817" y="160687"/>
                  </a:lnTo>
                  <a:lnTo>
                    <a:pt x="128397" y="160687"/>
                  </a:lnTo>
                  <a:lnTo>
                    <a:pt x="145256" y="220313"/>
                  </a:lnTo>
                  <a:lnTo>
                    <a:pt x="185547" y="220313"/>
                  </a:lnTo>
                  <a:lnTo>
                    <a:pt x="115252" y="95"/>
                  </a:lnTo>
                  <a:lnTo>
                    <a:pt x="70294" y="95"/>
                  </a:lnTo>
                  <a:close/>
                  <a:moveTo>
                    <a:pt x="64675" y="130016"/>
                  </a:moveTo>
                  <a:lnTo>
                    <a:pt x="72295" y="103061"/>
                  </a:lnTo>
                  <a:cubicBezTo>
                    <a:pt x="79248" y="79820"/>
                    <a:pt x="85534" y="54864"/>
                    <a:pt x="91440" y="30290"/>
                  </a:cubicBezTo>
                  <a:lnTo>
                    <a:pt x="92773" y="30290"/>
                  </a:lnTo>
                  <a:cubicBezTo>
                    <a:pt x="99060" y="54578"/>
                    <a:pt x="105346" y="79820"/>
                    <a:pt x="112204" y="103061"/>
                  </a:cubicBezTo>
                  <a:lnTo>
                    <a:pt x="119825" y="130016"/>
                  </a:lnTo>
                  <a:lnTo>
                    <a:pt x="64675" y="1300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Vrije vorm: vorm 36">
              <a:extLst>
                <a:ext uri="{FF2B5EF4-FFF2-40B4-BE49-F238E27FC236}">
                  <a16:creationId xmlns:a16="http://schemas.microsoft.com/office/drawing/2014/main" id="{B397BC4A-0441-463B-A4DF-35334DD14B9E}"/>
                </a:ext>
              </a:extLst>
            </p:cNvPr>
            <p:cNvSpPr/>
            <p:nvPr/>
          </p:nvSpPr>
          <p:spPr>
            <a:xfrm>
              <a:off x="6668261" y="3314700"/>
              <a:ext cx="157733" cy="225456"/>
            </a:xfrm>
            <a:custGeom>
              <a:avLst/>
              <a:gdLst>
                <a:gd name="connsiteX0" fmla="*/ 91059 w 157733"/>
                <a:gd name="connsiteY0" fmla="*/ 127445 h 225456"/>
                <a:gd name="connsiteX1" fmla="*/ 143256 w 157733"/>
                <a:gd name="connsiteY1" fmla="*/ 127445 h 225456"/>
                <a:gd name="connsiteX2" fmla="*/ 143256 w 157733"/>
                <a:gd name="connsiteY2" fmla="*/ 195167 h 225456"/>
                <a:gd name="connsiteX3" fmla="*/ 122301 w 157733"/>
                <a:gd name="connsiteY3" fmla="*/ 207359 h 225456"/>
                <a:gd name="connsiteX4" fmla="*/ 94393 w 157733"/>
                <a:gd name="connsiteY4" fmla="*/ 211646 h 225456"/>
                <a:gd name="connsiteX5" fmla="*/ 61246 w 157733"/>
                <a:gd name="connsiteY5" fmla="*/ 204502 h 225456"/>
                <a:gd name="connsiteX6" fmla="*/ 36481 w 157733"/>
                <a:gd name="connsiteY6" fmla="*/ 184499 h 225456"/>
                <a:gd name="connsiteX7" fmla="*/ 21146 w 157733"/>
                <a:gd name="connsiteY7" fmla="*/ 153257 h 225456"/>
                <a:gd name="connsiteX8" fmla="*/ 15907 w 157733"/>
                <a:gd name="connsiteY8" fmla="*/ 112205 h 225456"/>
                <a:gd name="connsiteX9" fmla="*/ 21526 w 157733"/>
                <a:gd name="connsiteY9" fmla="*/ 71247 h 225456"/>
                <a:gd name="connsiteX10" fmla="*/ 37529 w 157733"/>
                <a:gd name="connsiteY10" fmla="*/ 40386 h 225456"/>
                <a:gd name="connsiteX11" fmla="*/ 62770 w 157733"/>
                <a:gd name="connsiteY11" fmla="*/ 20765 h 225456"/>
                <a:gd name="connsiteX12" fmla="*/ 96488 w 157733"/>
                <a:gd name="connsiteY12" fmla="*/ 13811 h 225456"/>
                <a:gd name="connsiteX13" fmla="*/ 126206 w 157733"/>
                <a:gd name="connsiteY13" fmla="*/ 20384 h 225456"/>
                <a:gd name="connsiteX14" fmla="*/ 146685 w 157733"/>
                <a:gd name="connsiteY14" fmla="*/ 36195 h 225456"/>
                <a:gd name="connsiteX15" fmla="*/ 155638 w 157733"/>
                <a:gd name="connsiteY15" fmla="*/ 26003 h 225456"/>
                <a:gd name="connsiteX16" fmla="*/ 145542 w 157733"/>
                <a:gd name="connsiteY16" fmla="*/ 16764 h 225456"/>
                <a:gd name="connsiteX17" fmla="*/ 132493 w 157733"/>
                <a:gd name="connsiteY17" fmla="*/ 8382 h 225456"/>
                <a:gd name="connsiteX18" fmla="*/ 116110 w 157733"/>
                <a:gd name="connsiteY18" fmla="*/ 2286 h 225456"/>
                <a:gd name="connsiteX19" fmla="*/ 96107 w 157733"/>
                <a:gd name="connsiteY19" fmla="*/ 0 h 225456"/>
                <a:gd name="connsiteX20" fmla="*/ 56769 w 157733"/>
                <a:gd name="connsiteY20" fmla="*/ 7715 h 225456"/>
                <a:gd name="connsiteX21" fmla="*/ 26384 w 157733"/>
                <a:gd name="connsiteY21" fmla="*/ 30194 h 225456"/>
                <a:gd name="connsiteX22" fmla="*/ 6953 w 157733"/>
                <a:gd name="connsiteY22" fmla="*/ 65723 h 225456"/>
                <a:gd name="connsiteX23" fmla="*/ 0 w 157733"/>
                <a:gd name="connsiteY23" fmla="*/ 112300 h 225456"/>
                <a:gd name="connsiteX24" fmla="*/ 6763 w 157733"/>
                <a:gd name="connsiteY24" fmla="*/ 159353 h 225456"/>
                <a:gd name="connsiteX25" fmla="*/ 25717 w 157733"/>
                <a:gd name="connsiteY25" fmla="*/ 194977 h 225456"/>
                <a:gd name="connsiteX26" fmla="*/ 55054 w 157733"/>
                <a:gd name="connsiteY26" fmla="*/ 217551 h 225456"/>
                <a:gd name="connsiteX27" fmla="*/ 93345 w 157733"/>
                <a:gd name="connsiteY27" fmla="*/ 225457 h 225456"/>
                <a:gd name="connsiteX28" fmla="*/ 131159 w 157733"/>
                <a:gd name="connsiteY28" fmla="*/ 218504 h 225456"/>
                <a:gd name="connsiteX29" fmla="*/ 157734 w 157733"/>
                <a:gd name="connsiteY29" fmla="*/ 200692 h 225456"/>
                <a:gd name="connsiteX30" fmla="*/ 157734 w 157733"/>
                <a:gd name="connsiteY30" fmla="*/ 114491 h 225456"/>
                <a:gd name="connsiteX31" fmla="*/ 91059 w 157733"/>
                <a:gd name="connsiteY31" fmla="*/ 114491 h 225456"/>
                <a:gd name="connsiteX32" fmla="*/ 91059 w 157733"/>
                <a:gd name="connsiteY32" fmla="*/ 127445 h 225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57733" h="225456">
                  <a:moveTo>
                    <a:pt x="91059" y="127445"/>
                  </a:moveTo>
                  <a:lnTo>
                    <a:pt x="143256" y="127445"/>
                  </a:lnTo>
                  <a:lnTo>
                    <a:pt x="143256" y="195167"/>
                  </a:lnTo>
                  <a:cubicBezTo>
                    <a:pt x="138017" y="200406"/>
                    <a:pt x="130969" y="204502"/>
                    <a:pt x="122301" y="207359"/>
                  </a:cubicBezTo>
                  <a:cubicBezTo>
                    <a:pt x="113633" y="210217"/>
                    <a:pt x="104299" y="211646"/>
                    <a:pt x="94393" y="211646"/>
                  </a:cubicBezTo>
                  <a:cubicBezTo>
                    <a:pt x="82105" y="211646"/>
                    <a:pt x="70961" y="209264"/>
                    <a:pt x="61246" y="204502"/>
                  </a:cubicBezTo>
                  <a:cubicBezTo>
                    <a:pt x="51435" y="199739"/>
                    <a:pt x="43243" y="193072"/>
                    <a:pt x="36481" y="184499"/>
                  </a:cubicBezTo>
                  <a:cubicBezTo>
                    <a:pt x="29718" y="175927"/>
                    <a:pt x="24670" y="165544"/>
                    <a:pt x="21146" y="153257"/>
                  </a:cubicBezTo>
                  <a:cubicBezTo>
                    <a:pt x="17621" y="141065"/>
                    <a:pt x="15907" y="127349"/>
                    <a:pt x="15907" y="112205"/>
                  </a:cubicBezTo>
                  <a:cubicBezTo>
                    <a:pt x="15907" y="97060"/>
                    <a:pt x="17812" y="83344"/>
                    <a:pt x="21526" y="71247"/>
                  </a:cubicBezTo>
                  <a:cubicBezTo>
                    <a:pt x="25241" y="59150"/>
                    <a:pt x="30575" y="48863"/>
                    <a:pt x="37529" y="40386"/>
                  </a:cubicBezTo>
                  <a:cubicBezTo>
                    <a:pt x="44482" y="31909"/>
                    <a:pt x="52864" y="25337"/>
                    <a:pt x="62770" y="20765"/>
                  </a:cubicBezTo>
                  <a:cubicBezTo>
                    <a:pt x="72676" y="16097"/>
                    <a:pt x="83915" y="13811"/>
                    <a:pt x="96488" y="13811"/>
                  </a:cubicBezTo>
                  <a:cubicBezTo>
                    <a:pt x="108395" y="13811"/>
                    <a:pt x="118300" y="16002"/>
                    <a:pt x="126206" y="20384"/>
                  </a:cubicBezTo>
                  <a:cubicBezTo>
                    <a:pt x="134112" y="24765"/>
                    <a:pt x="140970" y="30099"/>
                    <a:pt x="146685" y="36195"/>
                  </a:cubicBezTo>
                  <a:lnTo>
                    <a:pt x="155638" y="26003"/>
                  </a:lnTo>
                  <a:cubicBezTo>
                    <a:pt x="152781" y="22955"/>
                    <a:pt x="149447" y="19812"/>
                    <a:pt x="145542" y="16764"/>
                  </a:cubicBezTo>
                  <a:cubicBezTo>
                    <a:pt x="141637" y="13716"/>
                    <a:pt x="137350" y="10859"/>
                    <a:pt x="132493" y="8382"/>
                  </a:cubicBezTo>
                  <a:cubicBezTo>
                    <a:pt x="127635" y="5810"/>
                    <a:pt x="122206" y="3810"/>
                    <a:pt x="116110" y="2286"/>
                  </a:cubicBezTo>
                  <a:cubicBezTo>
                    <a:pt x="110014" y="762"/>
                    <a:pt x="103442" y="0"/>
                    <a:pt x="96107" y="0"/>
                  </a:cubicBezTo>
                  <a:cubicBezTo>
                    <a:pt x="81820" y="0"/>
                    <a:pt x="68675" y="2572"/>
                    <a:pt x="56769" y="7715"/>
                  </a:cubicBezTo>
                  <a:cubicBezTo>
                    <a:pt x="44863" y="12859"/>
                    <a:pt x="34766" y="20384"/>
                    <a:pt x="26384" y="30194"/>
                  </a:cubicBezTo>
                  <a:cubicBezTo>
                    <a:pt x="18002" y="40005"/>
                    <a:pt x="11525" y="51816"/>
                    <a:pt x="6953" y="65723"/>
                  </a:cubicBezTo>
                  <a:cubicBezTo>
                    <a:pt x="2381" y="79629"/>
                    <a:pt x="0" y="95059"/>
                    <a:pt x="0" y="112300"/>
                  </a:cubicBezTo>
                  <a:cubicBezTo>
                    <a:pt x="0" y="129731"/>
                    <a:pt x="2286" y="145352"/>
                    <a:pt x="6763" y="159353"/>
                  </a:cubicBezTo>
                  <a:cubicBezTo>
                    <a:pt x="11239" y="173355"/>
                    <a:pt x="17621" y="185261"/>
                    <a:pt x="25717" y="194977"/>
                  </a:cubicBezTo>
                  <a:cubicBezTo>
                    <a:pt x="33814" y="204788"/>
                    <a:pt x="43625" y="212312"/>
                    <a:pt x="55054" y="217551"/>
                  </a:cubicBezTo>
                  <a:cubicBezTo>
                    <a:pt x="66484" y="222790"/>
                    <a:pt x="79248" y="225457"/>
                    <a:pt x="93345" y="225457"/>
                  </a:cubicBezTo>
                  <a:cubicBezTo>
                    <a:pt x="107633" y="225457"/>
                    <a:pt x="120205" y="223171"/>
                    <a:pt x="131159" y="218504"/>
                  </a:cubicBezTo>
                  <a:cubicBezTo>
                    <a:pt x="142018" y="213836"/>
                    <a:pt x="150876" y="207931"/>
                    <a:pt x="157734" y="200692"/>
                  </a:cubicBezTo>
                  <a:lnTo>
                    <a:pt x="157734" y="114491"/>
                  </a:lnTo>
                  <a:lnTo>
                    <a:pt x="91059" y="114491"/>
                  </a:lnTo>
                  <a:lnTo>
                    <a:pt x="91059" y="1274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Vrije vorm: vorm 37">
              <a:extLst>
                <a:ext uri="{FF2B5EF4-FFF2-40B4-BE49-F238E27FC236}">
                  <a16:creationId xmlns:a16="http://schemas.microsoft.com/office/drawing/2014/main" id="{BE0FB77D-E085-477B-AF19-A3E0D2062A5C}"/>
                </a:ext>
              </a:extLst>
            </p:cNvPr>
            <p:cNvSpPr/>
            <p:nvPr/>
          </p:nvSpPr>
          <p:spPr>
            <a:xfrm>
              <a:off x="6884764" y="3318605"/>
              <a:ext cx="137922" cy="217551"/>
            </a:xfrm>
            <a:custGeom>
              <a:avLst/>
              <a:gdLst>
                <a:gd name="connsiteX0" fmla="*/ 118681 w 137922"/>
                <a:gd name="connsiteY0" fmla="*/ 98393 h 217551"/>
                <a:gd name="connsiteX1" fmla="*/ 133731 w 137922"/>
                <a:gd name="connsiteY1" fmla="*/ 57436 h 217551"/>
                <a:gd name="connsiteX2" fmla="*/ 128588 w 137922"/>
                <a:gd name="connsiteY2" fmla="*/ 31052 h 217551"/>
                <a:gd name="connsiteX3" fmla="*/ 114205 w 137922"/>
                <a:gd name="connsiteY3" fmla="*/ 13240 h 217551"/>
                <a:gd name="connsiteX4" fmla="*/ 91726 w 137922"/>
                <a:gd name="connsiteY4" fmla="*/ 3143 h 217551"/>
                <a:gd name="connsiteX5" fmla="*/ 62389 w 137922"/>
                <a:gd name="connsiteY5" fmla="*/ 0 h 217551"/>
                <a:gd name="connsiteX6" fmla="*/ 0 w 137922"/>
                <a:gd name="connsiteY6" fmla="*/ 0 h 217551"/>
                <a:gd name="connsiteX7" fmla="*/ 0 w 137922"/>
                <a:gd name="connsiteY7" fmla="*/ 217551 h 217551"/>
                <a:gd name="connsiteX8" fmla="*/ 15145 w 137922"/>
                <a:gd name="connsiteY8" fmla="*/ 217551 h 217551"/>
                <a:gd name="connsiteX9" fmla="*/ 15145 w 137922"/>
                <a:gd name="connsiteY9" fmla="*/ 117539 h 217551"/>
                <a:gd name="connsiteX10" fmla="*/ 61341 w 137922"/>
                <a:gd name="connsiteY10" fmla="*/ 117539 h 217551"/>
                <a:gd name="connsiteX11" fmla="*/ 120396 w 137922"/>
                <a:gd name="connsiteY11" fmla="*/ 217551 h 217551"/>
                <a:gd name="connsiteX12" fmla="*/ 137922 w 137922"/>
                <a:gd name="connsiteY12" fmla="*/ 217551 h 217551"/>
                <a:gd name="connsiteX13" fmla="*/ 77819 w 137922"/>
                <a:gd name="connsiteY13" fmla="*/ 116491 h 217551"/>
                <a:gd name="connsiteX14" fmla="*/ 118681 w 137922"/>
                <a:gd name="connsiteY14" fmla="*/ 98393 h 217551"/>
                <a:gd name="connsiteX15" fmla="*/ 58388 w 137922"/>
                <a:gd name="connsiteY15" fmla="*/ 105061 h 217551"/>
                <a:gd name="connsiteX16" fmla="*/ 15145 w 137922"/>
                <a:gd name="connsiteY16" fmla="*/ 105061 h 217551"/>
                <a:gd name="connsiteX17" fmla="*/ 15145 w 137922"/>
                <a:gd name="connsiteY17" fmla="*/ 12954 h 217551"/>
                <a:gd name="connsiteX18" fmla="*/ 58388 w 137922"/>
                <a:gd name="connsiteY18" fmla="*/ 12954 h 217551"/>
                <a:gd name="connsiteX19" fmla="*/ 102584 w 137922"/>
                <a:gd name="connsiteY19" fmla="*/ 23051 h 217551"/>
                <a:gd name="connsiteX20" fmla="*/ 118110 w 137922"/>
                <a:gd name="connsiteY20" fmla="*/ 57531 h 217551"/>
                <a:gd name="connsiteX21" fmla="*/ 102775 w 137922"/>
                <a:gd name="connsiteY21" fmla="*/ 93345 h 217551"/>
                <a:gd name="connsiteX22" fmla="*/ 58388 w 137922"/>
                <a:gd name="connsiteY22" fmla="*/ 105061 h 217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7922" h="217551">
                  <a:moveTo>
                    <a:pt x="118681" y="98393"/>
                  </a:moveTo>
                  <a:cubicBezTo>
                    <a:pt x="128683" y="88487"/>
                    <a:pt x="133731" y="74867"/>
                    <a:pt x="133731" y="57436"/>
                  </a:cubicBezTo>
                  <a:cubicBezTo>
                    <a:pt x="133731" y="47054"/>
                    <a:pt x="132017" y="38291"/>
                    <a:pt x="128588" y="31052"/>
                  </a:cubicBezTo>
                  <a:cubicBezTo>
                    <a:pt x="125159" y="23813"/>
                    <a:pt x="120396" y="17812"/>
                    <a:pt x="114205" y="13240"/>
                  </a:cubicBezTo>
                  <a:cubicBezTo>
                    <a:pt x="108013" y="8572"/>
                    <a:pt x="100584" y="5239"/>
                    <a:pt x="91726" y="3143"/>
                  </a:cubicBezTo>
                  <a:cubicBezTo>
                    <a:pt x="82963" y="1048"/>
                    <a:pt x="73152" y="0"/>
                    <a:pt x="62389" y="0"/>
                  </a:cubicBezTo>
                  <a:lnTo>
                    <a:pt x="0" y="0"/>
                  </a:lnTo>
                  <a:lnTo>
                    <a:pt x="0" y="217551"/>
                  </a:lnTo>
                  <a:lnTo>
                    <a:pt x="15145" y="217551"/>
                  </a:lnTo>
                  <a:lnTo>
                    <a:pt x="15145" y="117539"/>
                  </a:lnTo>
                  <a:lnTo>
                    <a:pt x="61341" y="117539"/>
                  </a:lnTo>
                  <a:lnTo>
                    <a:pt x="120396" y="217551"/>
                  </a:lnTo>
                  <a:lnTo>
                    <a:pt x="137922" y="217551"/>
                  </a:lnTo>
                  <a:lnTo>
                    <a:pt x="77819" y="116491"/>
                  </a:lnTo>
                  <a:cubicBezTo>
                    <a:pt x="95059" y="114395"/>
                    <a:pt x="108680" y="108299"/>
                    <a:pt x="118681" y="98393"/>
                  </a:cubicBezTo>
                  <a:close/>
                  <a:moveTo>
                    <a:pt x="58388" y="105061"/>
                  </a:moveTo>
                  <a:lnTo>
                    <a:pt x="15145" y="105061"/>
                  </a:lnTo>
                  <a:lnTo>
                    <a:pt x="15145" y="12954"/>
                  </a:lnTo>
                  <a:lnTo>
                    <a:pt x="58388" y="12954"/>
                  </a:lnTo>
                  <a:cubicBezTo>
                    <a:pt x="77533" y="12954"/>
                    <a:pt x="92297" y="16288"/>
                    <a:pt x="102584" y="23051"/>
                  </a:cubicBezTo>
                  <a:cubicBezTo>
                    <a:pt x="112967" y="29813"/>
                    <a:pt x="118110" y="41243"/>
                    <a:pt x="118110" y="57531"/>
                  </a:cubicBezTo>
                  <a:cubicBezTo>
                    <a:pt x="118110" y="73628"/>
                    <a:pt x="112967" y="85535"/>
                    <a:pt x="102775" y="93345"/>
                  </a:cubicBezTo>
                  <a:cubicBezTo>
                    <a:pt x="92583" y="101156"/>
                    <a:pt x="77724" y="105061"/>
                    <a:pt x="58388" y="1050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Vrije vorm: vorm 38">
              <a:extLst>
                <a:ext uri="{FF2B5EF4-FFF2-40B4-BE49-F238E27FC236}">
                  <a16:creationId xmlns:a16="http://schemas.microsoft.com/office/drawing/2014/main" id="{453FBB5F-3B1C-4444-84E4-13A46EBEE504}"/>
                </a:ext>
              </a:extLst>
            </p:cNvPr>
            <p:cNvSpPr/>
            <p:nvPr/>
          </p:nvSpPr>
          <p:spPr>
            <a:xfrm>
              <a:off x="7053452" y="3314700"/>
              <a:ext cx="179165" cy="225456"/>
            </a:xfrm>
            <a:custGeom>
              <a:avLst/>
              <a:gdLst>
                <a:gd name="connsiteX0" fmla="*/ 154115 w 179165"/>
                <a:gd name="connsiteY0" fmla="*/ 30194 h 225456"/>
                <a:gd name="connsiteX1" fmla="*/ 125730 w 179165"/>
                <a:gd name="connsiteY1" fmla="*/ 7715 h 225456"/>
                <a:gd name="connsiteX2" fmla="*/ 89440 w 179165"/>
                <a:gd name="connsiteY2" fmla="*/ 0 h 225456"/>
                <a:gd name="connsiteX3" fmla="*/ 53435 w 179165"/>
                <a:gd name="connsiteY3" fmla="*/ 7715 h 225456"/>
                <a:gd name="connsiteX4" fmla="*/ 25051 w 179165"/>
                <a:gd name="connsiteY4" fmla="*/ 30194 h 225456"/>
                <a:gd name="connsiteX5" fmla="*/ 6572 w 179165"/>
                <a:gd name="connsiteY5" fmla="*/ 65532 h 225456"/>
                <a:gd name="connsiteX6" fmla="*/ 0 w 179165"/>
                <a:gd name="connsiteY6" fmla="*/ 111919 h 225456"/>
                <a:gd name="connsiteX7" fmla="*/ 6572 w 179165"/>
                <a:gd name="connsiteY7" fmla="*/ 158591 h 225456"/>
                <a:gd name="connsiteX8" fmla="*/ 25051 w 179165"/>
                <a:gd name="connsiteY8" fmla="*/ 194405 h 225456"/>
                <a:gd name="connsiteX9" fmla="*/ 53435 w 179165"/>
                <a:gd name="connsiteY9" fmla="*/ 217361 h 225456"/>
                <a:gd name="connsiteX10" fmla="*/ 89440 w 179165"/>
                <a:gd name="connsiteY10" fmla="*/ 225457 h 225456"/>
                <a:gd name="connsiteX11" fmla="*/ 125730 w 179165"/>
                <a:gd name="connsiteY11" fmla="*/ 217361 h 225456"/>
                <a:gd name="connsiteX12" fmla="*/ 154115 w 179165"/>
                <a:gd name="connsiteY12" fmla="*/ 194405 h 225456"/>
                <a:gd name="connsiteX13" fmla="*/ 172593 w 179165"/>
                <a:gd name="connsiteY13" fmla="*/ 158591 h 225456"/>
                <a:gd name="connsiteX14" fmla="*/ 179165 w 179165"/>
                <a:gd name="connsiteY14" fmla="*/ 111919 h 225456"/>
                <a:gd name="connsiteX15" fmla="*/ 172593 w 179165"/>
                <a:gd name="connsiteY15" fmla="*/ 65532 h 225456"/>
                <a:gd name="connsiteX16" fmla="*/ 154115 w 179165"/>
                <a:gd name="connsiteY16" fmla="*/ 30194 h 225456"/>
                <a:gd name="connsiteX17" fmla="*/ 157734 w 179165"/>
                <a:gd name="connsiteY17" fmla="*/ 152972 h 225456"/>
                <a:gd name="connsiteX18" fmla="*/ 142685 w 179165"/>
                <a:gd name="connsiteY18" fmla="*/ 184309 h 225456"/>
                <a:gd name="connsiteX19" fmla="*/ 119444 w 179165"/>
                <a:gd name="connsiteY19" fmla="*/ 204406 h 225456"/>
                <a:gd name="connsiteX20" fmla="*/ 89440 w 179165"/>
                <a:gd name="connsiteY20" fmla="*/ 211550 h 225456"/>
                <a:gd name="connsiteX21" fmla="*/ 59246 w 179165"/>
                <a:gd name="connsiteY21" fmla="*/ 204406 h 225456"/>
                <a:gd name="connsiteX22" fmla="*/ 36004 w 179165"/>
                <a:gd name="connsiteY22" fmla="*/ 184309 h 225456"/>
                <a:gd name="connsiteX23" fmla="*/ 21146 w 179165"/>
                <a:gd name="connsiteY23" fmla="*/ 152972 h 225456"/>
                <a:gd name="connsiteX24" fmla="*/ 15907 w 179165"/>
                <a:gd name="connsiteY24" fmla="*/ 111919 h 225456"/>
                <a:gd name="connsiteX25" fmla="*/ 21146 w 179165"/>
                <a:gd name="connsiteY25" fmla="*/ 71342 h 225456"/>
                <a:gd name="connsiteX26" fmla="*/ 36004 w 179165"/>
                <a:gd name="connsiteY26" fmla="*/ 40481 h 225456"/>
                <a:gd name="connsiteX27" fmla="*/ 59246 w 179165"/>
                <a:gd name="connsiteY27" fmla="*/ 20860 h 225456"/>
                <a:gd name="connsiteX28" fmla="*/ 89440 w 179165"/>
                <a:gd name="connsiteY28" fmla="*/ 13907 h 225456"/>
                <a:gd name="connsiteX29" fmla="*/ 119444 w 179165"/>
                <a:gd name="connsiteY29" fmla="*/ 20860 h 225456"/>
                <a:gd name="connsiteX30" fmla="*/ 142685 w 179165"/>
                <a:gd name="connsiteY30" fmla="*/ 40481 h 225456"/>
                <a:gd name="connsiteX31" fmla="*/ 157734 w 179165"/>
                <a:gd name="connsiteY31" fmla="*/ 71342 h 225456"/>
                <a:gd name="connsiteX32" fmla="*/ 162973 w 179165"/>
                <a:gd name="connsiteY32" fmla="*/ 111919 h 225456"/>
                <a:gd name="connsiteX33" fmla="*/ 157734 w 179165"/>
                <a:gd name="connsiteY33" fmla="*/ 152972 h 225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79165" h="225456">
                  <a:moveTo>
                    <a:pt x="154115" y="30194"/>
                  </a:moveTo>
                  <a:cubicBezTo>
                    <a:pt x="146209" y="20384"/>
                    <a:pt x="136684" y="12954"/>
                    <a:pt x="125730" y="7715"/>
                  </a:cubicBezTo>
                  <a:cubicBezTo>
                    <a:pt x="114776" y="2572"/>
                    <a:pt x="102679" y="0"/>
                    <a:pt x="89440" y="0"/>
                  </a:cubicBezTo>
                  <a:cubicBezTo>
                    <a:pt x="76486" y="0"/>
                    <a:pt x="64484" y="2572"/>
                    <a:pt x="53435" y="7715"/>
                  </a:cubicBezTo>
                  <a:cubicBezTo>
                    <a:pt x="42386" y="12859"/>
                    <a:pt x="32957" y="20384"/>
                    <a:pt x="25051" y="30194"/>
                  </a:cubicBezTo>
                  <a:cubicBezTo>
                    <a:pt x="17145" y="40005"/>
                    <a:pt x="10954" y="51816"/>
                    <a:pt x="6572" y="65532"/>
                  </a:cubicBezTo>
                  <a:cubicBezTo>
                    <a:pt x="2191" y="79248"/>
                    <a:pt x="0" y="94774"/>
                    <a:pt x="0" y="111919"/>
                  </a:cubicBezTo>
                  <a:cubicBezTo>
                    <a:pt x="0" y="129064"/>
                    <a:pt x="2191" y="144685"/>
                    <a:pt x="6572" y="158591"/>
                  </a:cubicBezTo>
                  <a:cubicBezTo>
                    <a:pt x="10954" y="172593"/>
                    <a:pt x="17145" y="184499"/>
                    <a:pt x="25051" y="194405"/>
                  </a:cubicBezTo>
                  <a:cubicBezTo>
                    <a:pt x="32957" y="204311"/>
                    <a:pt x="42482" y="211931"/>
                    <a:pt x="53435" y="217361"/>
                  </a:cubicBezTo>
                  <a:cubicBezTo>
                    <a:pt x="64389" y="222790"/>
                    <a:pt x="76486" y="225457"/>
                    <a:pt x="89440" y="225457"/>
                  </a:cubicBezTo>
                  <a:cubicBezTo>
                    <a:pt x="102679" y="225457"/>
                    <a:pt x="114776" y="222790"/>
                    <a:pt x="125730" y="217361"/>
                  </a:cubicBezTo>
                  <a:cubicBezTo>
                    <a:pt x="136779" y="211931"/>
                    <a:pt x="146209" y="204311"/>
                    <a:pt x="154115" y="194405"/>
                  </a:cubicBezTo>
                  <a:cubicBezTo>
                    <a:pt x="162020" y="184499"/>
                    <a:pt x="168212" y="172593"/>
                    <a:pt x="172593" y="158591"/>
                  </a:cubicBezTo>
                  <a:cubicBezTo>
                    <a:pt x="176975" y="144590"/>
                    <a:pt x="179165" y="129064"/>
                    <a:pt x="179165" y="111919"/>
                  </a:cubicBezTo>
                  <a:cubicBezTo>
                    <a:pt x="179165" y="94774"/>
                    <a:pt x="176975" y="79248"/>
                    <a:pt x="172593" y="65532"/>
                  </a:cubicBezTo>
                  <a:cubicBezTo>
                    <a:pt x="168212" y="51816"/>
                    <a:pt x="162116" y="40005"/>
                    <a:pt x="154115" y="30194"/>
                  </a:cubicBezTo>
                  <a:close/>
                  <a:moveTo>
                    <a:pt x="157734" y="152972"/>
                  </a:moveTo>
                  <a:cubicBezTo>
                    <a:pt x="154210" y="165164"/>
                    <a:pt x="149162" y="175641"/>
                    <a:pt x="142685" y="184309"/>
                  </a:cubicBezTo>
                  <a:cubicBezTo>
                    <a:pt x="136208" y="192977"/>
                    <a:pt x="128397" y="199739"/>
                    <a:pt x="119444" y="204406"/>
                  </a:cubicBezTo>
                  <a:cubicBezTo>
                    <a:pt x="110395" y="209169"/>
                    <a:pt x="100394" y="211550"/>
                    <a:pt x="89440" y="211550"/>
                  </a:cubicBezTo>
                  <a:cubicBezTo>
                    <a:pt x="78486" y="211550"/>
                    <a:pt x="68390" y="209169"/>
                    <a:pt x="59246" y="204406"/>
                  </a:cubicBezTo>
                  <a:cubicBezTo>
                    <a:pt x="50102" y="199644"/>
                    <a:pt x="42386" y="192977"/>
                    <a:pt x="36004" y="184309"/>
                  </a:cubicBezTo>
                  <a:cubicBezTo>
                    <a:pt x="29623" y="175641"/>
                    <a:pt x="24670" y="165164"/>
                    <a:pt x="21146" y="152972"/>
                  </a:cubicBezTo>
                  <a:cubicBezTo>
                    <a:pt x="17621" y="140780"/>
                    <a:pt x="15907" y="127064"/>
                    <a:pt x="15907" y="111919"/>
                  </a:cubicBezTo>
                  <a:cubicBezTo>
                    <a:pt x="15907" y="96965"/>
                    <a:pt x="17621" y="83439"/>
                    <a:pt x="21146" y="71342"/>
                  </a:cubicBezTo>
                  <a:cubicBezTo>
                    <a:pt x="24670" y="59245"/>
                    <a:pt x="29623" y="48959"/>
                    <a:pt x="36004" y="40481"/>
                  </a:cubicBezTo>
                  <a:cubicBezTo>
                    <a:pt x="42386" y="32004"/>
                    <a:pt x="50102" y="25432"/>
                    <a:pt x="59246" y="20860"/>
                  </a:cubicBezTo>
                  <a:cubicBezTo>
                    <a:pt x="68390" y="16193"/>
                    <a:pt x="78486" y="13907"/>
                    <a:pt x="89440" y="13907"/>
                  </a:cubicBezTo>
                  <a:cubicBezTo>
                    <a:pt x="100394" y="13907"/>
                    <a:pt x="110490" y="16193"/>
                    <a:pt x="119444" y="20860"/>
                  </a:cubicBezTo>
                  <a:cubicBezTo>
                    <a:pt x="128492" y="25432"/>
                    <a:pt x="136208" y="32004"/>
                    <a:pt x="142685" y="40481"/>
                  </a:cubicBezTo>
                  <a:cubicBezTo>
                    <a:pt x="149162" y="48959"/>
                    <a:pt x="154210" y="59245"/>
                    <a:pt x="157734" y="71342"/>
                  </a:cubicBezTo>
                  <a:cubicBezTo>
                    <a:pt x="161258" y="83439"/>
                    <a:pt x="162973" y="96965"/>
                    <a:pt x="162973" y="111919"/>
                  </a:cubicBezTo>
                  <a:cubicBezTo>
                    <a:pt x="163068" y="127064"/>
                    <a:pt x="161258" y="140780"/>
                    <a:pt x="157734" y="15297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Vrije vorm: vorm 39">
              <a:extLst>
                <a:ext uri="{FF2B5EF4-FFF2-40B4-BE49-F238E27FC236}">
                  <a16:creationId xmlns:a16="http://schemas.microsoft.com/office/drawing/2014/main" id="{A4557DFE-617F-46A1-8934-2FC66EE8FB9E}"/>
                </a:ext>
              </a:extLst>
            </p:cNvPr>
            <p:cNvSpPr/>
            <p:nvPr/>
          </p:nvSpPr>
          <p:spPr>
            <a:xfrm>
              <a:off x="7285386" y="3318700"/>
              <a:ext cx="146589" cy="221456"/>
            </a:xfrm>
            <a:custGeom>
              <a:avLst/>
              <a:gdLst>
                <a:gd name="connsiteX0" fmla="*/ 132207 w 146589"/>
                <a:gd name="connsiteY0" fmla="*/ 132302 h 221456"/>
                <a:gd name="connsiteX1" fmla="*/ 127254 w 146589"/>
                <a:gd name="connsiteY1" fmla="*/ 168402 h 221456"/>
                <a:gd name="connsiteX2" fmla="*/ 114205 w 146589"/>
                <a:gd name="connsiteY2" fmla="*/ 191548 h 221456"/>
                <a:gd name="connsiteX3" fmla="*/ 95345 w 146589"/>
                <a:gd name="connsiteY3" fmla="*/ 203930 h 221456"/>
                <a:gd name="connsiteX4" fmla="*/ 72771 w 146589"/>
                <a:gd name="connsiteY4" fmla="*/ 207550 h 221456"/>
                <a:gd name="connsiteX5" fmla="*/ 50863 w 146589"/>
                <a:gd name="connsiteY5" fmla="*/ 203930 h 221456"/>
                <a:gd name="connsiteX6" fmla="*/ 32576 w 146589"/>
                <a:gd name="connsiteY6" fmla="*/ 191548 h 221456"/>
                <a:gd name="connsiteX7" fmla="*/ 19907 w 146589"/>
                <a:gd name="connsiteY7" fmla="*/ 168402 h 221456"/>
                <a:gd name="connsiteX8" fmla="*/ 15145 w 146589"/>
                <a:gd name="connsiteY8" fmla="*/ 132302 h 221456"/>
                <a:gd name="connsiteX9" fmla="*/ 15145 w 146589"/>
                <a:gd name="connsiteY9" fmla="*/ 0 h 221456"/>
                <a:gd name="connsiteX10" fmla="*/ 0 w 146589"/>
                <a:gd name="connsiteY10" fmla="*/ 0 h 221456"/>
                <a:gd name="connsiteX11" fmla="*/ 0 w 146589"/>
                <a:gd name="connsiteY11" fmla="*/ 134017 h 221456"/>
                <a:gd name="connsiteX12" fmla="*/ 6096 w 146589"/>
                <a:gd name="connsiteY12" fmla="*/ 176308 h 221456"/>
                <a:gd name="connsiteX13" fmla="*/ 22479 w 146589"/>
                <a:gd name="connsiteY13" fmla="*/ 203168 h 221456"/>
                <a:gd name="connsiteX14" fmla="*/ 45911 w 146589"/>
                <a:gd name="connsiteY14" fmla="*/ 217361 h 221456"/>
                <a:gd name="connsiteX15" fmla="*/ 72962 w 146589"/>
                <a:gd name="connsiteY15" fmla="*/ 221456 h 221456"/>
                <a:gd name="connsiteX16" fmla="*/ 100394 w 146589"/>
                <a:gd name="connsiteY16" fmla="*/ 217361 h 221456"/>
                <a:gd name="connsiteX17" fmla="*/ 123825 w 146589"/>
                <a:gd name="connsiteY17" fmla="*/ 203168 h 221456"/>
                <a:gd name="connsiteX18" fmla="*/ 140303 w 146589"/>
                <a:gd name="connsiteY18" fmla="*/ 176308 h 221456"/>
                <a:gd name="connsiteX19" fmla="*/ 146590 w 146589"/>
                <a:gd name="connsiteY19" fmla="*/ 134017 h 221456"/>
                <a:gd name="connsiteX20" fmla="*/ 146590 w 146589"/>
                <a:gd name="connsiteY20" fmla="*/ 0 h 221456"/>
                <a:gd name="connsiteX21" fmla="*/ 132397 w 146589"/>
                <a:gd name="connsiteY21" fmla="*/ 0 h 221456"/>
                <a:gd name="connsiteX22" fmla="*/ 132397 w 146589"/>
                <a:gd name="connsiteY22" fmla="*/ 132302 h 22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6589" h="221456">
                  <a:moveTo>
                    <a:pt x="132207" y="132302"/>
                  </a:moveTo>
                  <a:cubicBezTo>
                    <a:pt x="132207" y="146780"/>
                    <a:pt x="130588" y="158877"/>
                    <a:pt x="127254" y="168402"/>
                  </a:cubicBezTo>
                  <a:cubicBezTo>
                    <a:pt x="123920" y="178022"/>
                    <a:pt x="119634" y="185642"/>
                    <a:pt x="114205" y="191548"/>
                  </a:cubicBezTo>
                  <a:cubicBezTo>
                    <a:pt x="108776" y="197358"/>
                    <a:pt x="102584" y="201549"/>
                    <a:pt x="95345" y="203930"/>
                  </a:cubicBezTo>
                  <a:cubicBezTo>
                    <a:pt x="88202" y="206312"/>
                    <a:pt x="80677" y="207550"/>
                    <a:pt x="72771" y="207550"/>
                  </a:cubicBezTo>
                  <a:cubicBezTo>
                    <a:pt x="65056" y="207550"/>
                    <a:pt x="57721" y="206312"/>
                    <a:pt x="50863" y="203930"/>
                  </a:cubicBezTo>
                  <a:cubicBezTo>
                    <a:pt x="43910" y="201549"/>
                    <a:pt x="37814" y="197358"/>
                    <a:pt x="32576" y="191548"/>
                  </a:cubicBezTo>
                  <a:cubicBezTo>
                    <a:pt x="27337" y="185738"/>
                    <a:pt x="23051" y="178022"/>
                    <a:pt x="19907" y="168402"/>
                  </a:cubicBezTo>
                  <a:cubicBezTo>
                    <a:pt x="16764" y="158877"/>
                    <a:pt x="15145" y="146780"/>
                    <a:pt x="15145" y="132302"/>
                  </a:cubicBezTo>
                  <a:lnTo>
                    <a:pt x="15145" y="0"/>
                  </a:lnTo>
                  <a:lnTo>
                    <a:pt x="0" y="0"/>
                  </a:lnTo>
                  <a:lnTo>
                    <a:pt x="0" y="134017"/>
                  </a:lnTo>
                  <a:cubicBezTo>
                    <a:pt x="0" y="150971"/>
                    <a:pt x="2000" y="165068"/>
                    <a:pt x="6096" y="176308"/>
                  </a:cubicBezTo>
                  <a:cubicBezTo>
                    <a:pt x="10192" y="187547"/>
                    <a:pt x="15621" y="196501"/>
                    <a:pt x="22479" y="203168"/>
                  </a:cubicBezTo>
                  <a:cubicBezTo>
                    <a:pt x="29337" y="209931"/>
                    <a:pt x="37147" y="214598"/>
                    <a:pt x="45911" y="217361"/>
                  </a:cubicBezTo>
                  <a:cubicBezTo>
                    <a:pt x="54673" y="220123"/>
                    <a:pt x="63722" y="221456"/>
                    <a:pt x="72962" y="221456"/>
                  </a:cubicBezTo>
                  <a:cubicBezTo>
                    <a:pt x="82391" y="221456"/>
                    <a:pt x="91535" y="220123"/>
                    <a:pt x="100394" y="217361"/>
                  </a:cubicBezTo>
                  <a:cubicBezTo>
                    <a:pt x="109156" y="214598"/>
                    <a:pt x="116967" y="209836"/>
                    <a:pt x="123825" y="203168"/>
                  </a:cubicBezTo>
                  <a:cubicBezTo>
                    <a:pt x="130683" y="196501"/>
                    <a:pt x="136112" y="187452"/>
                    <a:pt x="140303" y="176308"/>
                  </a:cubicBezTo>
                  <a:cubicBezTo>
                    <a:pt x="144494" y="165068"/>
                    <a:pt x="146590" y="150971"/>
                    <a:pt x="146590" y="134017"/>
                  </a:cubicBezTo>
                  <a:lnTo>
                    <a:pt x="146590" y="0"/>
                  </a:lnTo>
                  <a:lnTo>
                    <a:pt x="132397" y="0"/>
                  </a:lnTo>
                  <a:lnTo>
                    <a:pt x="132397" y="13230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Vrije vorm: vorm 40">
              <a:extLst>
                <a:ext uri="{FF2B5EF4-FFF2-40B4-BE49-F238E27FC236}">
                  <a16:creationId xmlns:a16="http://schemas.microsoft.com/office/drawing/2014/main" id="{883E655B-D426-4E62-8198-CC31196AE051}"/>
                </a:ext>
              </a:extLst>
            </p:cNvPr>
            <p:cNvSpPr/>
            <p:nvPr/>
          </p:nvSpPr>
          <p:spPr>
            <a:xfrm>
              <a:off x="7498460" y="3318605"/>
              <a:ext cx="133731" cy="217551"/>
            </a:xfrm>
            <a:custGeom>
              <a:avLst/>
              <a:gdLst>
                <a:gd name="connsiteX0" fmla="*/ 128207 w 133731"/>
                <a:gd name="connsiteY0" fmla="*/ 32385 h 217551"/>
                <a:gd name="connsiteX1" fmla="*/ 112681 w 133731"/>
                <a:gd name="connsiteY1" fmla="*/ 13526 h 217551"/>
                <a:gd name="connsiteX2" fmla="*/ 87916 w 133731"/>
                <a:gd name="connsiteY2" fmla="*/ 3143 h 217551"/>
                <a:gd name="connsiteX3" fmla="*/ 54769 w 133731"/>
                <a:gd name="connsiteY3" fmla="*/ 0 h 217551"/>
                <a:gd name="connsiteX4" fmla="*/ 0 w 133731"/>
                <a:gd name="connsiteY4" fmla="*/ 0 h 217551"/>
                <a:gd name="connsiteX5" fmla="*/ 0 w 133731"/>
                <a:gd name="connsiteY5" fmla="*/ 217551 h 217551"/>
                <a:gd name="connsiteX6" fmla="*/ 15145 w 133731"/>
                <a:gd name="connsiteY6" fmla="*/ 217551 h 217551"/>
                <a:gd name="connsiteX7" fmla="*/ 15145 w 133731"/>
                <a:gd name="connsiteY7" fmla="*/ 124111 h 217551"/>
                <a:gd name="connsiteX8" fmla="*/ 56102 w 133731"/>
                <a:gd name="connsiteY8" fmla="*/ 124111 h 217551"/>
                <a:gd name="connsiteX9" fmla="*/ 113252 w 133731"/>
                <a:gd name="connsiteY9" fmla="*/ 108395 h 217551"/>
                <a:gd name="connsiteX10" fmla="*/ 133731 w 133731"/>
                <a:gd name="connsiteY10" fmla="*/ 60674 h 217551"/>
                <a:gd name="connsiteX11" fmla="*/ 128207 w 133731"/>
                <a:gd name="connsiteY11" fmla="*/ 32385 h 217551"/>
                <a:gd name="connsiteX12" fmla="*/ 102013 w 133731"/>
                <a:gd name="connsiteY12" fmla="*/ 99441 h 217551"/>
                <a:gd name="connsiteX13" fmla="*/ 52483 w 133731"/>
                <a:gd name="connsiteY13" fmla="*/ 111347 h 217551"/>
                <a:gd name="connsiteX14" fmla="*/ 15145 w 133731"/>
                <a:gd name="connsiteY14" fmla="*/ 111347 h 217551"/>
                <a:gd name="connsiteX15" fmla="*/ 15145 w 133731"/>
                <a:gd name="connsiteY15" fmla="*/ 12954 h 217551"/>
                <a:gd name="connsiteX16" fmla="*/ 51149 w 133731"/>
                <a:gd name="connsiteY16" fmla="*/ 12954 h 217551"/>
                <a:gd name="connsiteX17" fmla="*/ 101537 w 133731"/>
                <a:gd name="connsiteY17" fmla="*/ 23146 h 217551"/>
                <a:gd name="connsiteX18" fmla="*/ 118205 w 133731"/>
                <a:gd name="connsiteY18" fmla="*/ 60770 h 217551"/>
                <a:gd name="connsiteX19" fmla="*/ 102013 w 133731"/>
                <a:gd name="connsiteY19" fmla="*/ 99441 h 217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33731" h="217551">
                  <a:moveTo>
                    <a:pt x="128207" y="32385"/>
                  </a:moveTo>
                  <a:cubicBezTo>
                    <a:pt x="124587" y="24670"/>
                    <a:pt x="119444" y="18383"/>
                    <a:pt x="112681" y="13526"/>
                  </a:cubicBezTo>
                  <a:cubicBezTo>
                    <a:pt x="105918" y="8668"/>
                    <a:pt x="97727" y="5239"/>
                    <a:pt x="87916" y="3143"/>
                  </a:cubicBezTo>
                  <a:cubicBezTo>
                    <a:pt x="78105" y="1048"/>
                    <a:pt x="67056" y="0"/>
                    <a:pt x="54769" y="0"/>
                  </a:cubicBezTo>
                  <a:lnTo>
                    <a:pt x="0" y="0"/>
                  </a:lnTo>
                  <a:lnTo>
                    <a:pt x="0" y="217551"/>
                  </a:lnTo>
                  <a:lnTo>
                    <a:pt x="15145" y="217551"/>
                  </a:lnTo>
                  <a:lnTo>
                    <a:pt x="15145" y="124111"/>
                  </a:lnTo>
                  <a:lnTo>
                    <a:pt x="56102" y="124111"/>
                  </a:lnTo>
                  <a:cubicBezTo>
                    <a:pt x="80486" y="124111"/>
                    <a:pt x="99536" y="118872"/>
                    <a:pt x="113252" y="108395"/>
                  </a:cubicBezTo>
                  <a:cubicBezTo>
                    <a:pt x="126873" y="97917"/>
                    <a:pt x="133731" y="82010"/>
                    <a:pt x="133731" y="60674"/>
                  </a:cubicBezTo>
                  <a:cubicBezTo>
                    <a:pt x="133636" y="49530"/>
                    <a:pt x="131826" y="40100"/>
                    <a:pt x="128207" y="32385"/>
                  </a:cubicBezTo>
                  <a:close/>
                  <a:moveTo>
                    <a:pt x="102013" y="99441"/>
                  </a:moveTo>
                  <a:cubicBezTo>
                    <a:pt x="91250" y="107347"/>
                    <a:pt x="74676" y="111347"/>
                    <a:pt x="52483" y="111347"/>
                  </a:cubicBezTo>
                  <a:lnTo>
                    <a:pt x="15145" y="111347"/>
                  </a:lnTo>
                  <a:lnTo>
                    <a:pt x="15145" y="12954"/>
                  </a:lnTo>
                  <a:lnTo>
                    <a:pt x="51149" y="12954"/>
                  </a:lnTo>
                  <a:cubicBezTo>
                    <a:pt x="73628" y="12954"/>
                    <a:pt x="90392" y="16383"/>
                    <a:pt x="101537" y="23146"/>
                  </a:cubicBezTo>
                  <a:cubicBezTo>
                    <a:pt x="112681" y="30004"/>
                    <a:pt x="118205" y="42482"/>
                    <a:pt x="118205" y="60770"/>
                  </a:cubicBezTo>
                  <a:cubicBezTo>
                    <a:pt x="118110" y="78581"/>
                    <a:pt x="112776" y="91535"/>
                    <a:pt x="102013" y="9944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74284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177EE4F-95D3-4030-BAB5-84698A41C3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5490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F177EE4F-95D3-4030-BAB5-84698A41C3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1FE8E61A-3215-4154-99A6-1DF4623E0B3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>
              <a:latin typeface="Source Sans Pro" panose="020B0503030403020204" pitchFamily="34" charset="0"/>
              <a:ea typeface="+mj-ea"/>
              <a:cs typeface="+mj-cs"/>
              <a:sym typeface="Source Sans Pro" panose="020B0503030403020204" pitchFamily="34" charset="0"/>
            </a:endParaRPr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DAF7F0BE-1368-471B-96B8-BC58087E4A1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Graphic 12">
            <a:extLst>
              <a:ext uri="{FF2B5EF4-FFF2-40B4-BE49-F238E27FC236}">
                <a16:creationId xmlns:a16="http://schemas.microsoft.com/office/drawing/2014/main" id="{ED5A55CD-6CAF-4D7C-AF10-895CA7526B23}"/>
              </a:ext>
            </a:extLst>
          </p:cNvPr>
          <p:cNvSpPr/>
          <p:nvPr userDrawn="1"/>
        </p:nvSpPr>
        <p:spPr>
          <a:xfrm rot="17820000" flipV="1">
            <a:off x="3945234" y="1248683"/>
            <a:ext cx="4786074" cy="5096281"/>
          </a:xfrm>
          <a:custGeom>
            <a:avLst/>
            <a:gdLst>
              <a:gd name="connsiteX0" fmla="*/ 3288083 w 5210478"/>
              <a:gd name="connsiteY0" fmla="*/ 28935 h 5548193"/>
              <a:gd name="connsiteX1" fmla="*/ 3167591 w 5210478"/>
              <a:gd name="connsiteY1" fmla="*/ 130757 h 5548193"/>
              <a:gd name="connsiteX2" fmla="*/ 45391 w 5210478"/>
              <a:gd name="connsiteY2" fmla="*/ 2660597 h 5548193"/>
              <a:gd name="connsiteX3" fmla="*/ 2529 w 5210478"/>
              <a:gd name="connsiteY3" fmla="*/ 2780612 h 5548193"/>
              <a:gd name="connsiteX4" fmla="*/ 556027 w 5210478"/>
              <a:gd name="connsiteY4" fmla="*/ 5450565 h 5548193"/>
              <a:gd name="connsiteX5" fmla="*/ 700807 w 5210478"/>
              <a:gd name="connsiteY5" fmla="*/ 5545624 h 5548193"/>
              <a:gd name="connsiteX6" fmla="*/ 5112787 w 5210478"/>
              <a:gd name="connsiteY6" fmla="*/ 4631415 h 5548193"/>
              <a:gd name="connsiteX7" fmla="*/ 5207846 w 5210478"/>
              <a:gd name="connsiteY7" fmla="*/ 4486350 h 5548193"/>
              <a:gd name="connsiteX8" fmla="*/ 4907333 w 5210478"/>
              <a:gd name="connsiteY8" fmla="*/ 3052265 h 5548193"/>
              <a:gd name="connsiteX9" fmla="*/ 3564879 w 5210478"/>
              <a:gd name="connsiteY9" fmla="*/ 161713 h 5548193"/>
              <a:gd name="connsiteX10" fmla="*/ 3459152 w 5210478"/>
              <a:gd name="connsiteY10" fmla="*/ 41603 h 5548193"/>
              <a:gd name="connsiteX11" fmla="*/ 3288083 w 5210478"/>
              <a:gd name="connsiteY11" fmla="*/ 28935 h 5548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210478" h="5548193">
                <a:moveTo>
                  <a:pt x="3288083" y="28935"/>
                </a:moveTo>
                <a:lnTo>
                  <a:pt x="3167591" y="130757"/>
                </a:lnTo>
                <a:lnTo>
                  <a:pt x="45391" y="2660597"/>
                </a:lnTo>
                <a:cubicBezTo>
                  <a:pt x="9768" y="2689458"/>
                  <a:pt x="-6710" y="2735750"/>
                  <a:pt x="2529" y="2780612"/>
                </a:cubicBezTo>
                <a:lnTo>
                  <a:pt x="556027" y="5450565"/>
                </a:lnTo>
                <a:cubicBezTo>
                  <a:pt x="569743" y="5516764"/>
                  <a:pt x="634608" y="5559340"/>
                  <a:pt x="700807" y="5545624"/>
                </a:cubicBezTo>
                <a:lnTo>
                  <a:pt x="5112787" y="4631415"/>
                </a:lnTo>
                <a:cubicBezTo>
                  <a:pt x="5179176" y="4617699"/>
                  <a:pt x="5221753" y="4552643"/>
                  <a:pt x="5207846" y="4486350"/>
                </a:cubicBezTo>
                <a:lnTo>
                  <a:pt x="4907333" y="3052265"/>
                </a:lnTo>
                <a:cubicBezTo>
                  <a:pt x="4663112" y="1855925"/>
                  <a:pt x="4207436" y="890947"/>
                  <a:pt x="3564879" y="161713"/>
                </a:cubicBezTo>
                <a:lnTo>
                  <a:pt x="3459152" y="41603"/>
                </a:lnTo>
                <a:cubicBezTo>
                  <a:pt x="3415051" y="-8498"/>
                  <a:pt x="3339041" y="-14118"/>
                  <a:pt x="3288083" y="28935"/>
                </a:cubicBezTo>
                <a:close/>
              </a:path>
            </a:pathLst>
          </a:custGeom>
          <a:noFill/>
          <a:ln w="9525" cap="flat">
            <a:solidFill>
              <a:srgbClr val="B7ADE4">
                <a:alpha val="20000"/>
              </a:srgbClr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5" name="Tekstvak 4"/>
          <p:cNvSpPr txBox="1"/>
          <p:nvPr userDrawn="1"/>
        </p:nvSpPr>
        <p:spPr>
          <a:xfrm>
            <a:off x="-10750" y="-662296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0" kern="1200" spc="50" baseline="0">
                <a:solidFill>
                  <a:schemeClr val="accent2"/>
                </a:solidFill>
                <a:latin typeface="+mn-lt"/>
                <a:ea typeface="+mn-ea"/>
                <a:cs typeface="Calibri" panose="020F0502020204030204" pitchFamily="34" charset="0"/>
              </a:rPr>
              <a:t>Quote slide #3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1253527" y="1852850"/>
            <a:ext cx="9684947" cy="3152301"/>
          </a:xfr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lace your text or quote here</a:t>
            </a:r>
            <a:endParaRPr lang="en-US"/>
          </a:p>
        </p:txBody>
      </p:sp>
      <p:grpSp>
        <p:nvGrpSpPr>
          <p:cNvPr id="26" name="Graphic 17">
            <a:extLst>
              <a:ext uri="{FF2B5EF4-FFF2-40B4-BE49-F238E27FC236}">
                <a16:creationId xmlns:a16="http://schemas.microsoft.com/office/drawing/2014/main" id="{F9F8F171-0C93-49C9-BAAE-CBDE2940DCDC}"/>
              </a:ext>
            </a:extLst>
          </p:cNvPr>
          <p:cNvGrpSpPr/>
          <p:nvPr userDrawn="1"/>
        </p:nvGrpSpPr>
        <p:grpSpPr>
          <a:xfrm>
            <a:off x="696136" y="6432477"/>
            <a:ext cx="1356870" cy="99501"/>
            <a:chOff x="4557712" y="3314700"/>
            <a:chExt cx="3074479" cy="225456"/>
          </a:xfrm>
          <a:solidFill>
            <a:schemeClr val="bg1"/>
          </a:solidFill>
        </p:grpSpPr>
        <p:sp>
          <p:nvSpPr>
            <p:cNvPr id="27" name="Vrije vorm: vorm 26">
              <a:extLst>
                <a:ext uri="{FF2B5EF4-FFF2-40B4-BE49-F238E27FC236}">
                  <a16:creationId xmlns:a16="http://schemas.microsoft.com/office/drawing/2014/main" id="{50BB20AB-E1F1-46BD-B2E3-7DCAED6D0642}"/>
                </a:ext>
              </a:extLst>
            </p:cNvPr>
            <p:cNvSpPr/>
            <p:nvPr/>
          </p:nvSpPr>
          <p:spPr>
            <a:xfrm>
              <a:off x="4557712" y="3316033"/>
              <a:ext cx="157448" cy="220218"/>
            </a:xfrm>
            <a:custGeom>
              <a:avLst/>
              <a:gdLst>
                <a:gd name="connsiteX0" fmla="*/ 116205 w 157448"/>
                <a:gd name="connsiteY0" fmla="*/ 103346 h 220218"/>
                <a:gd name="connsiteX1" fmla="*/ 116205 w 157448"/>
                <a:gd name="connsiteY1" fmla="*/ 102013 h 220218"/>
                <a:gd name="connsiteX2" fmla="*/ 146209 w 157448"/>
                <a:gd name="connsiteY2" fmla="*/ 54197 h 220218"/>
                <a:gd name="connsiteX3" fmla="*/ 68961 w 157448"/>
                <a:gd name="connsiteY3" fmla="*/ 0 h 220218"/>
                <a:gd name="connsiteX4" fmla="*/ 0 w 157448"/>
                <a:gd name="connsiteY4" fmla="*/ 0 h 220218"/>
                <a:gd name="connsiteX5" fmla="*/ 0 w 157448"/>
                <a:gd name="connsiteY5" fmla="*/ 220218 h 220218"/>
                <a:gd name="connsiteX6" fmla="*/ 74581 w 157448"/>
                <a:gd name="connsiteY6" fmla="*/ 220218 h 220218"/>
                <a:gd name="connsiteX7" fmla="*/ 157448 w 157448"/>
                <a:gd name="connsiteY7" fmla="*/ 155543 h 220218"/>
                <a:gd name="connsiteX8" fmla="*/ 116205 w 157448"/>
                <a:gd name="connsiteY8" fmla="*/ 103346 h 220218"/>
                <a:gd name="connsiteX9" fmla="*/ 38291 w 157448"/>
                <a:gd name="connsiteY9" fmla="*/ 30290 h 220218"/>
                <a:gd name="connsiteX10" fmla="*/ 66389 w 157448"/>
                <a:gd name="connsiteY10" fmla="*/ 30290 h 220218"/>
                <a:gd name="connsiteX11" fmla="*/ 108680 w 157448"/>
                <a:gd name="connsiteY11" fmla="*/ 59912 h 220218"/>
                <a:gd name="connsiteX12" fmla="*/ 65818 w 157448"/>
                <a:gd name="connsiteY12" fmla="*/ 90869 h 220218"/>
                <a:gd name="connsiteX13" fmla="*/ 38291 w 157448"/>
                <a:gd name="connsiteY13" fmla="*/ 90869 h 220218"/>
                <a:gd name="connsiteX14" fmla="*/ 38291 w 157448"/>
                <a:gd name="connsiteY14" fmla="*/ 30290 h 220218"/>
                <a:gd name="connsiteX15" fmla="*/ 70676 w 157448"/>
                <a:gd name="connsiteY15" fmla="*/ 189833 h 220218"/>
                <a:gd name="connsiteX16" fmla="*/ 38291 w 157448"/>
                <a:gd name="connsiteY16" fmla="*/ 189833 h 220218"/>
                <a:gd name="connsiteX17" fmla="*/ 38291 w 157448"/>
                <a:gd name="connsiteY17" fmla="*/ 120110 h 220218"/>
                <a:gd name="connsiteX18" fmla="*/ 70676 w 157448"/>
                <a:gd name="connsiteY18" fmla="*/ 120110 h 220218"/>
                <a:gd name="connsiteX19" fmla="*/ 120206 w 157448"/>
                <a:gd name="connsiteY19" fmla="*/ 153448 h 220218"/>
                <a:gd name="connsiteX20" fmla="*/ 70676 w 157448"/>
                <a:gd name="connsiteY20" fmla="*/ 189833 h 220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57448" h="220218">
                  <a:moveTo>
                    <a:pt x="116205" y="103346"/>
                  </a:moveTo>
                  <a:lnTo>
                    <a:pt x="116205" y="102013"/>
                  </a:lnTo>
                  <a:cubicBezTo>
                    <a:pt x="135065" y="95250"/>
                    <a:pt x="146209" y="75057"/>
                    <a:pt x="146209" y="54197"/>
                  </a:cubicBezTo>
                  <a:cubicBezTo>
                    <a:pt x="146209" y="13811"/>
                    <a:pt x="113538" y="0"/>
                    <a:pt x="68961" y="0"/>
                  </a:cubicBezTo>
                  <a:lnTo>
                    <a:pt x="0" y="0"/>
                  </a:lnTo>
                  <a:lnTo>
                    <a:pt x="0" y="220218"/>
                  </a:lnTo>
                  <a:lnTo>
                    <a:pt x="74581" y="220218"/>
                  </a:lnTo>
                  <a:cubicBezTo>
                    <a:pt x="122111" y="220218"/>
                    <a:pt x="157448" y="199644"/>
                    <a:pt x="157448" y="155543"/>
                  </a:cubicBezTo>
                  <a:cubicBezTo>
                    <a:pt x="157448" y="125921"/>
                    <a:pt x="139922" y="108680"/>
                    <a:pt x="116205" y="103346"/>
                  </a:cubicBezTo>
                  <a:close/>
                  <a:moveTo>
                    <a:pt x="38291" y="30290"/>
                  </a:moveTo>
                  <a:lnTo>
                    <a:pt x="66389" y="30290"/>
                  </a:lnTo>
                  <a:cubicBezTo>
                    <a:pt x="94488" y="30290"/>
                    <a:pt x="108680" y="38386"/>
                    <a:pt x="108680" y="59912"/>
                  </a:cubicBezTo>
                  <a:cubicBezTo>
                    <a:pt x="108680" y="78772"/>
                    <a:pt x="95822" y="90869"/>
                    <a:pt x="65818" y="90869"/>
                  </a:cubicBezTo>
                  <a:lnTo>
                    <a:pt x="38291" y="90869"/>
                  </a:lnTo>
                  <a:lnTo>
                    <a:pt x="38291" y="30290"/>
                  </a:lnTo>
                  <a:close/>
                  <a:moveTo>
                    <a:pt x="70676" y="189833"/>
                  </a:moveTo>
                  <a:lnTo>
                    <a:pt x="38291" y="189833"/>
                  </a:lnTo>
                  <a:lnTo>
                    <a:pt x="38291" y="120110"/>
                  </a:lnTo>
                  <a:lnTo>
                    <a:pt x="70676" y="120110"/>
                  </a:lnTo>
                  <a:cubicBezTo>
                    <a:pt x="103061" y="120110"/>
                    <a:pt x="120206" y="130207"/>
                    <a:pt x="120206" y="153448"/>
                  </a:cubicBezTo>
                  <a:cubicBezTo>
                    <a:pt x="120110" y="178118"/>
                    <a:pt x="102299" y="189833"/>
                    <a:pt x="70676" y="18983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Vrije vorm: vorm 27">
              <a:extLst>
                <a:ext uri="{FF2B5EF4-FFF2-40B4-BE49-F238E27FC236}">
                  <a16:creationId xmlns:a16="http://schemas.microsoft.com/office/drawing/2014/main" id="{A8D306C4-D77D-4248-BD1D-0861759695FB}"/>
                </a:ext>
              </a:extLst>
            </p:cNvPr>
            <p:cNvSpPr/>
            <p:nvPr/>
          </p:nvSpPr>
          <p:spPr>
            <a:xfrm>
              <a:off x="4758118" y="3315938"/>
              <a:ext cx="162686" cy="220218"/>
            </a:xfrm>
            <a:custGeom>
              <a:avLst/>
              <a:gdLst>
                <a:gd name="connsiteX0" fmla="*/ 57721 w 162686"/>
                <a:gd name="connsiteY0" fmla="*/ 0 h 220218"/>
                <a:gd name="connsiteX1" fmla="*/ 0 w 162686"/>
                <a:gd name="connsiteY1" fmla="*/ 0 h 220218"/>
                <a:gd name="connsiteX2" fmla="*/ 0 w 162686"/>
                <a:gd name="connsiteY2" fmla="*/ 220218 h 220218"/>
                <a:gd name="connsiteX3" fmla="*/ 59722 w 162686"/>
                <a:gd name="connsiteY3" fmla="*/ 220218 h 220218"/>
                <a:gd name="connsiteX4" fmla="*/ 162687 w 162686"/>
                <a:gd name="connsiteY4" fmla="*/ 109061 h 220218"/>
                <a:gd name="connsiteX5" fmla="*/ 57721 w 162686"/>
                <a:gd name="connsiteY5" fmla="*/ 0 h 220218"/>
                <a:gd name="connsiteX6" fmla="*/ 55054 w 162686"/>
                <a:gd name="connsiteY6" fmla="*/ 188595 h 220218"/>
                <a:gd name="connsiteX7" fmla="*/ 38195 w 162686"/>
                <a:gd name="connsiteY7" fmla="*/ 188595 h 220218"/>
                <a:gd name="connsiteX8" fmla="*/ 38195 w 162686"/>
                <a:gd name="connsiteY8" fmla="*/ 31718 h 220218"/>
                <a:gd name="connsiteX9" fmla="*/ 55054 w 162686"/>
                <a:gd name="connsiteY9" fmla="*/ 31718 h 220218"/>
                <a:gd name="connsiteX10" fmla="*/ 123349 w 162686"/>
                <a:gd name="connsiteY10" fmla="*/ 109157 h 220218"/>
                <a:gd name="connsiteX11" fmla="*/ 55054 w 162686"/>
                <a:gd name="connsiteY11" fmla="*/ 188595 h 220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2686" h="220218">
                  <a:moveTo>
                    <a:pt x="57721" y="0"/>
                  </a:moveTo>
                  <a:lnTo>
                    <a:pt x="0" y="0"/>
                  </a:lnTo>
                  <a:lnTo>
                    <a:pt x="0" y="220218"/>
                  </a:lnTo>
                  <a:lnTo>
                    <a:pt x="59722" y="220218"/>
                  </a:lnTo>
                  <a:cubicBezTo>
                    <a:pt x="123730" y="220218"/>
                    <a:pt x="162687" y="182118"/>
                    <a:pt x="162687" y="109061"/>
                  </a:cubicBezTo>
                  <a:cubicBezTo>
                    <a:pt x="162687" y="36386"/>
                    <a:pt x="123730" y="0"/>
                    <a:pt x="57721" y="0"/>
                  </a:cubicBezTo>
                  <a:close/>
                  <a:moveTo>
                    <a:pt x="55054" y="188595"/>
                  </a:moveTo>
                  <a:lnTo>
                    <a:pt x="38195" y="188595"/>
                  </a:lnTo>
                  <a:lnTo>
                    <a:pt x="38195" y="31718"/>
                  </a:lnTo>
                  <a:lnTo>
                    <a:pt x="55054" y="31718"/>
                  </a:lnTo>
                  <a:cubicBezTo>
                    <a:pt x="98584" y="31718"/>
                    <a:pt x="123349" y="55245"/>
                    <a:pt x="123349" y="109157"/>
                  </a:cubicBezTo>
                  <a:cubicBezTo>
                    <a:pt x="123444" y="163354"/>
                    <a:pt x="98679" y="188595"/>
                    <a:pt x="55054" y="18859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Vrije vorm: vorm 28">
              <a:extLst>
                <a:ext uri="{FF2B5EF4-FFF2-40B4-BE49-F238E27FC236}">
                  <a16:creationId xmlns:a16="http://schemas.microsoft.com/office/drawing/2014/main" id="{E155F0C8-52B1-4D2E-A918-9C4BD9EA42C2}"/>
                </a:ext>
              </a:extLst>
            </p:cNvPr>
            <p:cNvSpPr/>
            <p:nvPr/>
          </p:nvSpPr>
          <p:spPr>
            <a:xfrm>
              <a:off x="4967382" y="3315938"/>
              <a:ext cx="160782" cy="220218"/>
            </a:xfrm>
            <a:custGeom>
              <a:avLst/>
              <a:gdLst>
                <a:gd name="connsiteX0" fmla="*/ 152210 w 160782"/>
                <a:gd name="connsiteY0" fmla="*/ 65341 h 220218"/>
                <a:gd name="connsiteX1" fmla="*/ 72962 w 160782"/>
                <a:gd name="connsiteY1" fmla="*/ 0 h 220218"/>
                <a:gd name="connsiteX2" fmla="*/ 0 w 160782"/>
                <a:gd name="connsiteY2" fmla="*/ 0 h 220218"/>
                <a:gd name="connsiteX3" fmla="*/ 0 w 160782"/>
                <a:gd name="connsiteY3" fmla="*/ 220218 h 220218"/>
                <a:gd name="connsiteX4" fmla="*/ 38291 w 160782"/>
                <a:gd name="connsiteY4" fmla="*/ 220218 h 220218"/>
                <a:gd name="connsiteX5" fmla="*/ 38291 w 160782"/>
                <a:gd name="connsiteY5" fmla="*/ 134017 h 220218"/>
                <a:gd name="connsiteX6" fmla="*/ 71342 w 160782"/>
                <a:gd name="connsiteY6" fmla="*/ 134017 h 220218"/>
                <a:gd name="connsiteX7" fmla="*/ 117920 w 160782"/>
                <a:gd name="connsiteY7" fmla="*/ 220218 h 220218"/>
                <a:gd name="connsiteX8" fmla="*/ 160782 w 160782"/>
                <a:gd name="connsiteY8" fmla="*/ 220218 h 220218"/>
                <a:gd name="connsiteX9" fmla="*/ 109252 w 160782"/>
                <a:gd name="connsiteY9" fmla="*/ 128302 h 220218"/>
                <a:gd name="connsiteX10" fmla="*/ 152210 w 160782"/>
                <a:gd name="connsiteY10" fmla="*/ 65341 h 220218"/>
                <a:gd name="connsiteX11" fmla="*/ 68961 w 160782"/>
                <a:gd name="connsiteY11" fmla="*/ 103061 h 220218"/>
                <a:gd name="connsiteX12" fmla="*/ 38291 w 160782"/>
                <a:gd name="connsiteY12" fmla="*/ 103061 h 220218"/>
                <a:gd name="connsiteX13" fmla="*/ 38291 w 160782"/>
                <a:gd name="connsiteY13" fmla="*/ 31337 h 220218"/>
                <a:gd name="connsiteX14" fmla="*/ 68961 w 160782"/>
                <a:gd name="connsiteY14" fmla="*/ 31337 h 220218"/>
                <a:gd name="connsiteX15" fmla="*/ 114491 w 160782"/>
                <a:gd name="connsiteY15" fmla="*/ 65341 h 220218"/>
                <a:gd name="connsiteX16" fmla="*/ 68961 w 160782"/>
                <a:gd name="connsiteY16" fmla="*/ 103061 h 220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60782" h="220218">
                  <a:moveTo>
                    <a:pt x="152210" y="65341"/>
                  </a:moveTo>
                  <a:cubicBezTo>
                    <a:pt x="152210" y="16193"/>
                    <a:pt x="117920" y="0"/>
                    <a:pt x="72962" y="0"/>
                  </a:cubicBezTo>
                  <a:lnTo>
                    <a:pt x="0" y="0"/>
                  </a:lnTo>
                  <a:lnTo>
                    <a:pt x="0" y="220218"/>
                  </a:lnTo>
                  <a:lnTo>
                    <a:pt x="38291" y="220218"/>
                  </a:lnTo>
                  <a:lnTo>
                    <a:pt x="38291" y="134017"/>
                  </a:lnTo>
                  <a:lnTo>
                    <a:pt x="71342" y="134017"/>
                  </a:lnTo>
                  <a:lnTo>
                    <a:pt x="117920" y="220218"/>
                  </a:lnTo>
                  <a:lnTo>
                    <a:pt x="160782" y="220218"/>
                  </a:lnTo>
                  <a:lnTo>
                    <a:pt x="109252" y="128302"/>
                  </a:lnTo>
                  <a:cubicBezTo>
                    <a:pt x="134969" y="119253"/>
                    <a:pt x="152210" y="99060"/>
                    <a:pt x="152210" y="65341"/>
                  </a:cubicBezTo>
                  <a:close/>
                  <a:moveTo>
                    <a:pt x="68961" y="103061"/>
                  </a:moveTo>
                  <a:lnTo>
                    <a:pt x="38291" y="103061"/>
                  </a:lnTo>
                  <a:lnTo>
                    <a:pt x="38291" y="31337"/>
                  </a:lnTo>
                  <a:lnTo>
                    <a:pt x="68961" y="31337"/>
                  </a:lnTo>
                  <a:cubicBezTo>
                    <a:pt x="98298" y="31337"/>
                    <a:pt x="114491" y="40100"/>
                    <a:pt x="114491" y="65341"/>
                  </a:cubicBezTo>
                  <a:cubicBezTo>
                    <a:pt x="114586" y="90297"/>
                    <a:pt x="98393" y="103061"/>
                    <a:pt x="68961" y="1030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Vrije vorm: vorm 29">
              <a:extLst>
                <a:ext uri="{FF2B5EF4-FFF2-40B4-BE49-F238E27FC236}">
                  <a16:creationId xmlns:a16="http://schemas.microsoft.com/office/drawing/2014/main" id="{72720B00-2E5F-450E-BB7D-B940912140AC}"/>
                </a:ext>
              </a:extLst>
            </p:cNvPr>
            <p:cNvSpPr/>
            <p:nvPr/>
          </p:nvSpPr>
          <p:spPr>
            <a:xfrm>
              <a:off x="5194553" y="3315938"/>
              <a:ext cx="163068" cy="220313"/>
            </a:xfrm>
            <a:custGeom>
              <a:avLst/>
              <a:gdLst>
                <a:gd name="connsiteX0" fmla="*/ 0 w 163068"/>
                <a:gd name="connsiteY0" fmla="*/ 33052 h 220313"/>
                <a:gd name="connsiteX1" fmla="*/ 62389 w 163068"/>
                <a:gd name="connsiteY1" fmla="*/ 33052 h 220313"/>
                <a:gd name="connsiteX2" fmla="*/ 62389 w 163068"/>
                <a:gd name="connsiteY2" fmla="*/ 220313 h 220313"/>
                <a:gd name="connsiteX3" fmla="*/ 100679 w 163068"/>
                <a:gd name="connsiteY3" fmla="*/ 220313 h 220313"/>
                <a:gd name="connsiteX4" fmla="*/ 100679 w 163068"/>
                <a:gd name="connsiteY4" fmla="*/ 33052 h 220313"/>
                <a:gd name="connsiteX5" fmla="*/ 163068 w 163068"/>
                <a:gd name="connsiteY5" fmla="*/ 33052 h 220313"/>
                <a:gd name="connsiteX6" fmla="*/ 163068 w 163068"/>
                <a:gd name="connsiteY6" fmla="*/ 0 h 220313"/>
                <a:gd name="connsiteX7" fmla="*/ 0 w 163068"/>
                <a:gd name="connsiteY7" fmla="*/ 0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068" h="220313">
                  <a:moveTo>
                    <a:pt x="0" y="33052"/>
                  </a:moveTo>
                  <a:lnTo>
                    <a:pt x="62389" y="33052"/>
                  </a:lnTo>
                  <a:lnTo>
                    <a:pt x="62389" y="220313"/>
                  </a:lnTo>
                  <a:lnTo>
                    <a:pt x="100679" y="220313"/>
                  </a:lnTo>
                  <a:lnTo>
                    <a:pt x="100679" y="33052"/>
                  </a:lnTo>
                  <a:lnTo>
                    <a:pt x="163068" y="33052"/>
                  </a:lnTo>
                  <a:lnTo>
                    <a:pt x="16306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Vrije vorm: vorm 30">
              <a:extLst>
                <a:ext uri="{FF2B5EF4-FFF2-40B4-BE49-F238E27FC236}">
                  <a16:creationId xmlns:a16="http://schemas.microsoft.com/office/drawing/2014/main" id="{7E7FFBEF-735C-4687-8F8F-151BEAEDABEE}"/>
                </a:ext>
              </a:extLst>
            </p:cNvPr>
            <p:cNvSpPr/>
            <p:nvPr/>
          </p:nvSpPr>
          <p:spPr>
            <a:xfrm>
              <a:off x="5396864" y="3315938"/>
              <a:ext cx="164020" cy="220313"/>
            </a:xfrm>
            <a:custGeom>
              <a:avLst/>
              <a:gdLst>
                <a:gd name="connsiteX0" fmla="*/ 125730 w 164020"/>
                <a:gd name="connsiteY0" fmla="*/ 88583 h 220313"/>
                <a:gd name="connsiteX1" fmla="*/ 38291 w 164020"/>
                <a:gd name="connsiteY1" fmla="*/ 88583 h 220313"/>
                <a:gd name="connsiteX2" fmla="*/ 38291 w 164020"/>
                <a:gd name="connsiteY2" fmla="*/ 0 h 220313"/>
                <a:gd name="connsiteX3" fmla="*/ 0 w 164020"/>
                <a:gd name="connsiteY3" fmla="*/ 0 h 220313"/>
                <a:gd name="connsiteX4" fmla="*/ 0 w 164020"/>
                <a:gd name="connsiteY4" fmla="*/ 220313 h 220313"/>
                <a:gd name="connsiteX5" fmla="*/ 38291 w 164020"/>
                <a:gd name="connsiteY5" fmla="*/ 220313 h 220313"/>
                <a:gd name="connsiteX6" fmla="*/ 38291 w 164020"/>
                <a:gd name="connsiteY6" fmla="*/ 122587 h 220313"/>
                <a:gd name="connsiteX7" fmla="*/ 125730 w 164020"/>
                <a:gd name="connsiteY7" fmla="*/ 122587 h 220313"/>
                <a:gd name="connsiteX8" fmla="*/ 125730 w 164020"/>
                <a:gd name="connsiteY8" fmla="*/ 220313 h 220313"/>
                <a:gd name="connsiteX9" fmla="*/ 164021 w 164020"/>
                <a:gd name="connsiteY9" fmla="*/ 220313 h 220313"/>
                <a:gd name="connsiteX10" fmla="*/ 164021 w 164020"/>
                <a:gd name="connsiteY10" fmla="*/ 0 h 220313"/>
                <a:gd name="connsiteX11" fmla="*/ 125730 w 164020"/>
                <a:gd name="connsiteY11" fmla="*/ 0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4020" h="220313">
                  <a:moveTo>
                    <a:pt x="125730" y="88583"/>
                  </a:moveTo>
                  <a:lnTo>
                    <a:pt x="38291" y="88583"/>
                  </a:lnTo>
                  <a:lnTo>
                    <a:pt x="38291" y="0"/>
                  </a:lnTo>
                  <a:lnTo>
                    <a:pt x="0" y="0"/>
                  </a:lnTo>
                  <a:lnTo>
                    <a:pt x="0" y="220313"/>
                  </a:lnTo>
                  <a:lnTo>
                    <a:pt x="38291" y="220313"/>
                  </a:lnTo>
                  <a:lnTo>
                    <a:pt x="38291" y="122587"/>
                  </a:lnTo>
                  <a:lnTo>
                    <a:pt x="125730" y="122587"/>
                  </a:lnTo>
                  <a:lnTo>
                    <a:pt x="125730" y="220313"/>
                  </a:lnTo>
                  <a:lnTo>
                    <a:pt x="164021" y="220313"/>
                  </a:lnTo>
                  <a:lnTo>
                    <a:pt x="164021" y="0"/>
                  </a:lnTo>
                  <a:lnTo>
                    <a:pt x="12573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Vrije vorm: vorm 31">
              <a:extLst>
                <a:ext uri="{FF2B5EF4-FFF2-40B4-BE49-F238E27FC236}">
                  <a16:creationId xmlns:a16="http://schemas.microsoft.com/office/drawing/2014/main" id="{F65EFD60-A074-4368-80C7-05C0E89E4AF1}"/>
                </a:ext>
              </a:extLst>
            </p:cNvPr>
            <p:cNvSpPr/>
            <p:nvPr/>
          </p:nvSpPr>
          <p:spPr>
            <a:xfrm>
              <a:off x="5619082" y="3315938"/>
              <a:ext cx="133350" cy="220313"/>
            </a:xfrm>
            <a:custGeom>
              <a:avLst/>
              <a:gdLst>
                <a:gd name="connsiteX0" fmla="*/ 38290 w 133350"/>
                <a:gd name="connsiteY0" fmla="*/ 122301 h 220313"/>
                <a:gd name="connsiteX1" fmla="*/ 115824 w 133350"/>
                <a:gd name="connsiteY1" fmla="*/ 122301 h 220313"/>
                <a:gd name="connsiteX2" fmla="*/ 115824 w 133350"/>
                <a:gd name="connsiteY2" fmla="*/ 89249 h 220313"/>
                <a:gd name="connsiteX3" fmla="*/ 38290 w 133350"/>
                <a:gd name="connsiteY3" fmla="*/ 89249 h 220313"/>
                <a:gd name="connsiteX4" fmla="*/ 38290 w 133350"/>
                <a:gd name="connsiteY4" fmla="*/ 33052 h 220313"/>
                <a:gd name="connsiteX5" fmla="*/ 130016 w 133350"/>
                <a:gd name="connsiteY5" fmla="*/ 33052 h 220313"/>
                <a:gd name="connsiteX6" fmla="*/ 130016 w 133350"/>
                <a:gd name="connsiteY6" fmla="*/ 0 h 220313"/>
                <a:gd name="connsiteX7" fmla="*/ 0 w 133350"/>
                <a:gd name="connsiteY7" fmla="*/ 0 h 220313"/>
                <a:gd name="connsiteX8" fmla="*/ 0 w 133350"/>
                <a:gd name="connsiteY8" fmla="*/ 220313 h 220313"/>
                <a:gd name="connsiteX9" fmla="*/ 133350 w 133350"/>
                <a:gd name="connsiteY9" fmla="*/ 220313 h 220313"/>
                <a:gd name="connsiteX10" fmla="*/ 133350 w 133350"/>
                <a:gd name="connsiteY10" fmla="*/ 187262 h 220313"/>
                <a:gd name="connsiteX11" fmla="*/ 38290 w 133350"/>
                <a:gd name="connsiteY11" fmla="*/ 187262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3350" h="220313">
                  <a:moveTo>
                    <a:pt x="38290" y="122301"/>
                  </a:moveTo>
                  <a:lnTo>
                    <a:pt x="115824" y="122301"/>
                  </a:lnTo>
                  <a:lnTo>
                    <a:pt x="115824" y="89249"/>
                  </a:lnTo>
                  <a:lnTo>
                    <a:pt x="38290" y="89249"/>
                  </a:lnTo>
                  <a:lnTo>
                    <a:pt x="38290" y="33052"/>
                  </a:lnTo>
                  <a:lnTo>
                    <a:pt x="130016" y="33052"/>
                  </a:lnTo>
                  <a:lnTo>
                    <a:pt x="130016" y="0"/>
                  </a:lnTo>
                  <a:lnTo>
                    <a:pt x="0" y="0"/>
                  </a:lnTo>
                  <a:lnTo>
                    <a:pt x="0" y="220313"/>
                  </a:lnTo>
                  <a:lnTo>
                    <a:pt x="133350" y="220313"/>
                  </a:lnTo>
                  <a:lnTo>
                    <a:pt x="133350" y="187262"/>
                  </a:lnTo>
                  <a:lnTo>
                    <a:pt x="38290" y="1872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Vrije vorm: vorm 32">
              <a:extLst>
                <a:ext uri="{FF2B5EF4-FFF2-40B4-BE49-F238E27FC236}">
                  <a16:creationId xmlns:a16="http://schemas.microsoft.com/office/drawing/2014/main" id="{B57A2AC3-E959-4C86-8C52-9D73D84C816D}"/>
                </a:ext>
              </a:extLst>
            </p:cNvPr>
            <p:cNvSpPr/>
            <p:nvPr/>
          </p:nvSpPr>
          <p:spPr>
            <a:xfrm>
              <a:off x="5799581" y="3315938"/>
              <a:ext cx="160781" cy="220218"/>
            </a:xfrm>
            <a:custGeom>
              <a:avLst/>
              <a:gdLst>
                <a:gd name="connsiteX0" fmla="*/ 152209 w 160781"/>
                <a:gd name="connsiteY0" fmla="*/ 65341 h 220218"/>
                <a:gd name="connsiteX1" fmla="*/ 72961 w 160781"/>
                <a:gd name="connsiteY1" fmla="*/ 0 h 220218"/>
                <a:gd name="connsiteX2" fmla="*/ 0 w 160781"/>
                <a:gd name="connsiteY2" fmla="*/ 0 h 220218"/>
                <a:gd name="connsiteX3" fmla="*/ 0 w 160781"/>
                <a:gd name="connsiteY3" fmla="*/ 220218 h 220218"/>
                <a:gd name="connsiteX4" fmla="*/ 38290 w 160781"/>
                <a:gd name="connsiteY4" fmla="*/ 220218 h 220218"/>
                <a:gd name="connsiteX5" fmla="*/ 38290 w 160781"/>
                <a:gd name="connsiteY5" fmla="*/ 134017 h 220218"/>
                <a:gd name="connsiteX6" fmla="*/ 71342 w 160781"/>
                <a:gd name="connsiteY6" fmla="*/ 134017 h 220218"/>
                <a:gd name="connsiteX7" fmla="*/ 117919 w 160781"/>
                <a:gd name="connsiteY7" fmla="*/ 220218 h 220218"/>
                <a:gd name="connsiteX8" fmla="*/ 160782 w 160781"/>
                <a:gd name="connsiteY8" fmla="*/ 220218 h 220218"/>
                <a:gd name="connsiteX9" fmla="*/ 109252 w 160781"/>
                <a:gd name="connsiteY9" fmla="*/ 128302 h 220218"/>
                <a:gd name="connsiteX10" fmla="*/ 152209 w 160781"/>
                <a:gd name="connsiteY10" fmla="*/ 65341 h 220218"/>
                <a:gd name="connsiteX11" fmla="*/ 69056 w 160781"/>
                <a:gd name="connsiteY11" fmla="*/ 103061 h 220218"/>
                <a:gd name="connsiteX12" fmla="*/ 38386 w 160781"/>
                <a:gd name="connsiteY12" fmla="*/ 103061 h 220218"/>
                <a:gd name="connsiteX13" fmla="*/ 38386 w 160781"/>
                <a:gd name="connsiteY13" fmla="*/ 31337 h 220218"/>
                <a:gd name="connsiteX14" fmla="*/ 69056 w 160781"/>
                <a:gd name="connsiteY14" fmla="*/ 31337 h 220218"/>
                <a:gd name="connsiteX15" fmla="*/ 114586 w 160781"/>
                <a:gd name="connsiteY15" fmla="*/ 65341 h 220218"/>
                <a:gd name="connsiteX16" fmla="*/ 69056 w 160781"/>
                <a:gd name="connsiteY16" fmla="*/ 103061 h 220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60781" h="220218">
                  <a:moveTo>
                    <a:pt x="152209" y="65341"/>
                  </a:moveTo>
                  <a:cubicBezTo>
                    <a:pt x="152209" y="16193"/>
                    <a:pt x="117919" y="0"/>
                    <a:pt x="72961" y="0"/>
                  </a:cubicBezTo>
                  <a:lnTo>
                    <a:pt x="0" y="0"/>
                  </a:lnTo>
                  <a:lnTo>
                    <a:pt x="0" y="220218"/>
                  </a:lnTo>
                  <a:lnTo>
                    <a:pt x="38290" y="220218"/>
                  </a:lnTo>
                  <a:lnTo>
                    <a:pt x="38290" y="134017"/>
                  </a:lnTo>
                  <a:lnTo>
                    <a:pt x="71342" y="134017"/>
                  </a:lnTo>
                  <a:lnTo>
                    <a:pt x="117919" y="220218"/>
                  </a:lnTo>
                  <a:lnTo>
                    <a:pt x="160782" y="220218"/>
                  </a:lnTo>
                  <a:lnTo>
                    <a:pt x="109252" y="128302"/>
                  </a:lnTo>
                  <a:cubicBezTo>
                    <a:pt x="135064" y="119253"/>
                    <a:pt x="152209" y="99060"/>
                    <a:pt x="152209" y="65341"/>
                  </a:cubicBezTo>
                  <a:close/>
                  <a:moveTo>
                    <a:pt x="69056" y="103061"/>
                  </a:moveTo>
                  <a:lnTo>
                    <a:pt x="38386" y="103061"/>
                  </a:lnTo>
                  <a:lnTo>
                    <a:pt x="38386" y="31337"/>
                  </a:lnTo>
                  <a:lnTo>
                    <a:pt x="69056" y="31337"/>
                  </a:lnTo>
                  <a:cubicBezTo>
                    <a:pt x="98393" y="31337"/>
                    <a:pt x="114586" y="40100"/>
                    <a:pt x="114586" y="65341"/>
                  </a:cubicBezTo>
                  <a:cubicBezTo>
                    <a:pt x="114586" y="90297"/>
                    <a:pt x="98393" y="103061"/>
                    <a:pt x="69056" y="1030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Vrije vorm: vorm 33">
              <a:extLst>
                <a:ext uri="{FF2B5EF4-FFF2-40B4-BE49-F238E27FC236}">
                  <a16:creationId xmlns:a16="http://schemas.microsoft.com/office/drawing/2014/main" id="{F2587848-ED48-400E-96CF-86702EEE7B78}"/>
                </a:ext>
              </a:extLst>
            </p:cNvPr>
            <p:cNvSpPr/>
            <p:nvPr/>
          </p:nvSpPr>
          <p:spPr>
            <a:xfrm>
              <a:off x="5998273" y="3315938"/>
              <a:ext cx="191166" cy="220313"/>
            </a:xfrm>
            <a:custGeom>
              <a:avLst/>
              <a:gdLst>
                <a:gd name="connsiteX0" fmla="*/ 110300 w 191166"/>
                <a:gd name="connsiteY0" fmla="*/ 107823 h 220313"/>
                <a:gd name="connsiteX1" fmla="*/ 96774 w 191166"/>
                <a:gd name="connsiteY1" fmla="*/ 150971 h 220313"/>
                <a:gd name="connsiteX2" fmla="*/ 95440 w 191166"/>
                <a:gd name="connsiteY2" fmla="*/ 150971 h 220313"/>
                <a:gd name="connsiteX3" fmla="*/ 81534 w 191166"/>
                <a:gd name="connsiteY3" fmla="*/ 107823 h 220313"/>
                <a:gd name="connsiteX4" fmla="*/ 43243 w 191166"/>
                <a:gd name="connsiteY4" fmla="*/ 95 h 220313"/>
                <a:gd name="connsiteX5" fmla="*/ 0 w 191166"/>
                <a:gd name="connsiteY5" fmla="*/ 95 h 220313"/>
                <a:gd name="connsiteX6" fmla="*/ 0 w 191166"/>
                <a:gd name="connsiteY6" fmla="*/ 220313 h 220313"/>
                <a:gd name="connsiteX7" fmla="*/ 34671 w 191166"/>
                <a:gd name="connsiteY7" fmla="*/ 220313 h 220313"/>
                <a:gd name="connsiteX8" fmla="*/ 34671 w 191166"/>
                <a:gd name="connsiteY8" fmla="*/ 119634 h 220313"/>
                <a:gd name="connsiteX9" fmla="*/ 29718 w 191166"/>
                <a:gd name="connsiteY9" fmla="*/ 49625 h 220313"/>
                <a:gd name="connsiteX10" fmla="*/ 31051 w 191166"/>
                <a:gd name="connsiteY10" fmla="*/ 49625 h 220313"/>
                <a:gd name="connsiteX11" fmla="*/ 48196 w 191166"/>
                <a:gd name="connsiteY11" fmla="*/ 100775 h 220313"/>
                <a:gd name="connsiteX12" fmla="*/ 83820 w 191166"/>
                <a:gd name="connsiteY12" fmla="*/ 199739 h 220313"/>
                <a:gd name="connsiteX13" fmla="*/ 106585 w 191166"/>
                <a:gd name="connsiteY13" fmla="*/ 199739 h 220313"/>
                <a:gd name="connsiteX14" fmla="*/ 141922 w 191166"/>
                <a:gd name="connsiteY14" fmla="*/ 100775 h 220313"/>
                <a:gd name="connsiteX15" fmla="*/ 159448 w 191166"/>
                <a:gd name="connsiteY15" fmla="*/ 49625 h 220313"/>
                <a:gd name="connsiteX16" fmla="*/ 160782 w 191166"/>
                <a:gd name="connsiteY16" fmla="*/ 49625 h 220313"/>
                <a:gd name="connsiteX17" fmla="*/ 155829 w 191166"/>
                <a:gd name="connsiteY17" fmla="*/ 119634 h 220313"/>
                <a:gd name="connsiteX18" fmla="*/ 155829 w 191166"/>
                <a:gd name="connsiteY18" fmla="*/ 220313 h 220313"/>
                <a:gd name="connsiteX19" fmla="*/ 191167 w 191166"/>
                <a:gd name="connsiteY19" fmla="*/ 220313 h 220313"/>
                <a:gd name="connsiteX20" fmla="*/ 191167 w 191166"/>
                <a:gd name="connsiteY20" fmla="*/ 0 h 220313"/>
                <a:gd name="connsiteX21" fmla="*/ 147638 w 191166"/>
                <a:gd name="connsiteY21" fmla="*/ 0 h 220313"/>
                <a:gd name="connsiteX22" fmla="*/ 110300 w 191166"/>
                <a:gd name="connsiteY22" fmla="*/ 107823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1166" h="220313">
                  <a:moveTo>
                    <a:pt x="110300" y="107823"/>
                  </a:moveTo>
                  <a:cubicBezTo>
                    <a:pt x="105632" y="121634"/>
                    <a:pt x="101346" y="136493"/>
                    <a:pt x="96774" y="150971"/>
                  </a:cubicBezTo>
                  <a:lnTo>
                    <a:pt x="95440" y="150971"/>
                  </a:lnTo>
                  <a:cubicBezTo>
                    <a:pt x="90868" y="136493"/>
                    <a:pt x="86201" y="121634"/>
                    <a:pt x="81534" y="107823"/>
                  </a:cubicBezTo>
                  <a:lnTo>
                    <a:pt x="43243" y="95"/>
                  </a:lnTo>
                  <a:lnTo>
                    <a:pt x="0" y="95"/>
                  </a:lnTo>
                  <a:lnTo>
                    <a:pt x="0" y="220313"/>
                  </a:lnTo>
                  <a:lnTo>
                    <a:pt x="34671" y="220313"/>
                  </a:lnTo>
                  <a:lnTo>
                    <a:pt x="34671" y="119634"/>
                  </a:lnTo>
                  <a:cubicBezTo>
                    <a:pt x="34671" y="99060"/>
                    <a:pt x="31337" y="69818"/>
                    <a:pt x="29718" y="49625"/>
                  </a:cubicBezTo>
                  <a:lnTo>
                    <a:pt x="31051" y="49625"/>
                  </a:lnTo>
                  <a:lnTo>
                    <a:pt x="48196" y="100775"/>
                  </a:lnTo>
                  <a:lnTo>
                    <a:pt x="83820" y="199739"/>
                  </a:lnTo>
                  <a:lnTo>
                    <a:pt x="106585" y="199739"/>
                  </a:lnTo>
                  <a:lnTo>
                    <a:pt x="141922" y="100775"/>
                  </a:lnTo>
                  <a:lnTo>
                    <a:pt x="159448" y="49625"/>
                  </a:lnTo>
                  <a:lnTo>
                    <a:pt x="160782" y="49625"/>
                  </a:lnTo>
                  <a:cubicBezTo>
                    <a:pt x="158782" y="69818"/>
                    <a:pt x="155829" y="99155"/>
                    <a:pt x="155829" y="119634"/>
                  </a:cubicBezTo>
                  <a:lnTo>
                    <a:pt x="155829" y="220313"/>
                  </a:lnTo>
                  <a:lnTo>
                    <a:pt x="191167" y="220313"/>
                  </a:lnTo>
                  <a:lnTo>
                    <a:pt x="191167" y="0"/>
                  </a:lnTo>
                  <a:lnTo>
                    <a:pt x="147638" y="0"/>
                  </a:lnTo>
                  <a:lnTo>
                    <a:pt x="110300" y="1078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Vrije vorm: vorm 34">
              <a:extLst>
                <a:ext uri="{FF2B5EF4-FFF2-40B4-BE49-F238E27FC236}">
                  <a16:creationId xmlns:a16="http://schemas.microsoft.com/office/drawing/2014/main" id="{9A4DF858-B31C-43A7-86FD-7EAA36CBA7DD}"/>
                </a:ext>
              </a:extLst>
            </p:cNvPr>
            <p:cNvSpPr/>
            <p:nvPr/>
          </p:nvSpPr>
          <p:spPr>
            <a:xfrm>
              <a:off x="6247256" y="3315938"/>
              <a:ext cx="133350" cy="220313"/>
            </a:xfrm>
            <a:custGeom>
              <a:avLst/>
              <a:gdLst>
                <a:gd name="connsiteX0" fmla="*/ 38290 w 133350"/>
                <a:gd name="connsiteY0" fmla="*/ 122301 h 220313"/>
                <a:gd name="connsiteX1" fmla="*/ 115824 w 133350"/>
                <a:gd name="connsiteY1" fmla="*/ 122301 h 220313"/>
                <a:gd name="connsiteX2" fmla="*/ 115824 w 133350"/>
                <a:gd name="connsiteY2" fmla="*/ 89249 h 220313"/>
                <a:gd name="connsiteX3" fmla="*/ 38290 w 133350"/>
                <a:gd name="connsiteY3" fmla="*/ 89249 h 220313"/>
                <a:gd name="connsiteX4" fmla="*/ 38290 w 133350"/>
                <a:gd name="connsiteY4" fmla="*/ 33052 h 220313"/>
                <a:gd name="connsiteX5" fmla="*/ 130111 w 133350"/>
                <a:gd name="connsiteY5" fmla="*/ 33052 h 220313"/>
                <a:gd name="connsiteX6" fmla="*/ 130111 w 133350"/>
                <a:gd name="connsiteY6" fmla="*/ 0 h 220313"/>
                <a:gd name="connsiteX7" fmla="*/ 0 w 133350"/>
                <a:gd name="connsiteY7" fmla="*/ 0 h 220313"/>
                <a:gd name="connsiteX8" fmla="*/ 0 w 133350"/>
                <a:gd name="connsiteY8" fmla="*/ 220313 h 220313"/>
                <a:gd name="connsiteX9" fmla="*/ 133350 w 133350"/>
                <a:gd name="connsiteY9" fmla="*/ 220313 h 220313"/>
                <a:gd name="connsiteX10" fmla="*/ 133350 w 133350"/>
                <a:gd name="connsiteY10" fmla="*/ 187262 h 220313"/>
                <a:gd name="connsiteX11" fmla="*/ 38290 w 133350"/>
                <a:gd name="connsiteY11" fmla="*/ 187262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3350" h="220313">
                  <a:moveTo>
                    <a:pt x="38290" y="122301"/>
                  </a:moveTo>
                  <a:lnTo>
                    <a:pt x="115824" y="122301"/>
                  </a:lnTo>
                  <a:lnTo>
                    <a:pt x="115824" y="89249"/>
                  </a:lnTo>
                  <a:lnTo>
                    <a:pt x="38290" y="89249"/>
                  </a:lnTo>
                  <a:lnTo>
                    <a:pt x="38290" y="33052"/>
                  </a:lnTo>
                  <a:lnTo>
                    <a:pt x="130111" y="33052"/>
                  </a:lnTo>
                  <a:lnTo>
                    <a:pt x="130111" y="0"/>
                  </a:lnTo>
                  <a:lnTo>
                    <a:pt x="0" y="0"/>
                  </a:lnTo>
                  <a:lnTo>
                    <a:pt x="0" y="220313"/>
                  </a:lnTo>
                  <a:lnTo>
                    <a:pt x="133350" y="220313"/>
                  </a:lnTo>
                  <a:lnTo>
                    <a:pt x="133350" y="187262"/>
                  </a:lnTo>
                  <a:lnTo>
                    <a:pt x="38290" y="1872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Vrije vorm: vorm 35">
              <a:extLst>
                <a:ext uri="{FF2B5EF4-FFF2-40B4-BE49-F238E27FC236}">
                  <a16:creationId xmlns:a16="http://schemas.microsoft.com/office/drawing/2014/main" id="{48DA14AA-3F31-44AA-9B87-D70152043D6D}"/>
                </a:ext>
              </a:extLst>
            </p:cNvPr>
            <p:cNvSpPr/>
            <p:nvPr/>
          </p:nvSpPr>
          <p:spPr>
            <a:xfrm>
              <a:off x="6403085" y="3315938"/>
              <a:ext cx="185546" cy="220313"/>
            </a:xfrm>
            <a:custGeom>
              <a:avLst/>
              <a:gdLst>
                <a:gd name="connsiteX0" fmla="*/ 70294 w 185546"/>
                <a:gd name="connsiteY0" fmla="*/ 0 h 220313"/>
                <a:gd name="connsiteX1" fmla="*/ 0 w 185546"/>
                <a:gd name="connsiteY1" fmla="*/ 220218 h 220313"/>
                <a:gd name="connsiteX2" fmla="*/ 38957 w 185546"/>
                <a:gd name="connsiteY2" fmla="*/ 220218 h 220313"/>
                <a:gd name="connsiteX3" fmla="*/ 55817 w 185546"/>
                <a:gd name="connsiteY3" fmla="*/ 160687 h 220313"/>
                <a:gd name="connsiteX4" fmla="*/ 128397 w 185546"/>
                <a:gd name="connsiteY4" fmla="*/ 160687 h 220313"/>
                <a:gd name="connsiteX5" fmla="*/ 145256 w 185546"/>
                <a:gd name="connsiteY5" fmla="*/ 220313 h 220313"/>
                <a:gd name="connsiteX6" fmla="*/ 185547 w 185546"/>
                <a:gd name="connsiteY6" fmla="*/ 220313 h 220313"/>
                <a:gd name="connsiteX7" fmla="*/ 115252 w 185546"/>
                <a:gd name="connsiteY7" fmla="*/ 95 h 220313"/>
                <a:gd name="connsiteX8" fmla="*/ 70294 w 185546"/>
                <a:gd name="connsiteY8" fmla="*/ 95 h 220313"/>
                <a:gd name="connsiteX9" fmla="*/ 64675 w 185546"/>
                <a:gd name="connsiteY9" fmla="*/ 130016 h 220313"/>
                <a:gd name="connsiteX10" fmla="*/ 72295 w 185546"/>
                <a:gd name="connsiteY10" fmla="*/ 103061 h 220313"/>
                <a:gd name="connsiteX11" fmla="*/ 91440 w 185546"/>
                <a:gd name="connsiteY11" fmla="*/ 30290 h 220313"/>
                <a:gd name="connsiteX12" fmla="*/ 92773 w 185546"/>
                <a:gd name="connsiteY12" fmla="*/ 30290 h 220313"/>
                <a:gd name="connsiteX13" fmla="*/ 112204 w 185546"/>
                <a:gd name="connsiteY13" fmla="*/ 103061 h 220313"/>
                <a:gd name="connsiteX14" fmla="*/ 119825 w 185546"/>
                <a:gd name="connsiteY14" fmla="*/ 130016 h 220313"/>
                <a:gd name="connsiteX15" fmla="*/ 64675 w 185546"/>
                <a:gd name="connsiteY15" fmla="*/ 130016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5546" h="220313">
                  <a:moveTo>
                    <a:pt x="70294" y="0"/>
                  </a:moveTo>
                  <a:lnTo>
                    <a:pt x="0" y="220218"/>
                  </a:lnTo>
                  <a:lnTo>
                    <a:pt x="38957" y="220218"/>
                  </a:lnTo>
                  <a:lnTo>
                    <a:pt x="55817" y="160687"/>
                  </a:lnTo>
                  <a:lnTo>
                    <a:pt x="128397" y="160687"/>
                  </a:lnTo>
                  <a:lnTo>
                    <a:pt x="145256" y="220313"/>
                  </a:lnTo>
                  <a:lnTo>
                    <a:pt x="185547" y="220313"/>
                  </a:lnTo>
                  <a:lnTo>
                    <a:pt x="115252" y="95"/>
                  </a:lnTo>
                  <a:lnTo>
                    <a:pt x="70294" y="95"/>
                  </a:lnTo>
                  <a:close/>
                  <a:moveTo>
                    <a:pt x="64675" y="130016"/>
                  </a:moveTo>
                  <a:lnTo>
                    <a:pt x="72295" y="103061"/>
                  </a:lnTo>
                  <a:cubicBezTo>
                    <a:pt x="79248" y="79820"/>
                    <a:pt x="85534" y="54864"/>
                    <a:pt x="91440" y="30290"/>
                  </a:cubicBezTo>
                  <a:lnTo>
                    <a:pt x="92773" y="30290"/>
                  </a:lnTo>
                  <a:cubicBezTo>
                    <a:pt x="99060" y="54578"/>
                    <a:pt x="105346" y="79820"/>
                    <a:pt x="112204" y="103061"/>
                  </a:cubicBezTo>
                  <a:lnTo>
                    <a:pt x="119825" y="130016"/>
                  </a:lnTo>
                  <a:lnTo>
                    <a:pt x="64675" y="1300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Vrije vorm: vorm 36">
              <a:extLst>
                <a:ext uri="{FF2B5EF4-FFF2-40B4-BE49-F238E27FC236}">
                  <a16:creationId xmlns:a16="http://schemas.microsoft.com/office/drawing/2014/main" id="{43DBF6CC-CA7D-4ACD-A342-7537DFB32A39}"/>
                </a:ext>
              </a:extLst>
            </p:cNvPr>
            <p:cNvSpPr/>
            <p:nvPr/>
          </p:nvSpPr>
          <p:spPr>
            <a:xfrm>
              <a:off x="6668261" y="3314700"/>
              <a:ext cx="157733" cy="225456"/>
            </a:xfrm>
            <a:custGeom>
              <a:avLst/>
              <a:gdLst>
                <a:gd name="connsiteX0" fmla="*/ 91059 w 157733"/>
                <a:gd name="connsiteY0" fmla="*/ 127445 h 225456"/>
                <a:gd name="connsiteX1" fmla="*/ 143256 w 157733"/>
                <a:gd name="connsiteY1" fmla="*/ 127445 h 225456"/>
                <a:gd name="connsiteX2" fmla="*/ 143256 w 157733"/>
                <a:gd name="connsiteY2" fmla="*/ 195167 h 225456"/>
                <a:gd name="connsiteX3" fmla="*/ 122301 w 157733"/>
                <a:gd name="connsiteY3" fmla="*/ 207359 h 225456"/>
                <a:gd name="connsiteX4" fmla="*/ 94393 w 157733"/>
                <a:gd name="connsiteY4" fmla="*/ 211646 h 225456"/>
                <a:gd name="connsiteX5" fmla="*/ 61246 w 157733"/>
                <a:gd name="connsiteY5" fmla="*/ 204502 h 225456"/>
                <a:gd name="connsiteX6" fmla="*/ 36481 w 157733"/>
                <a:gd name="connsiteY6" fmla="*/ 184499 h 225456"/>
                <a:gd name="connsiteX7" fmla="*/ 21146 w 157733"/>
                <a:gd name="connsiteY7" fmla="*/ 153257 h 225456"/>
                <a:gd name="connsiteX8" fmla="*/ 15907 w 157733"/>
                <a:gd name="connsiteY8" fmla="*/ 112205 h 225456"/>
                <a:gd name="connsiteX9" fmla="*/ 21526 w 157733"/>
                <a:gd name="connsiteY9" fmla="*/ 71247 h 225456"/>
                <a:gd name="connsiteX10" fmla="*/ 37529 w 157733"/>
                <a:gd name="connsiteY10" fmla="*/ 40386 h 225456"/>
                <a:gd name="connsiteX11" fmla="*/ 62770 w 157733"/>
                <a:gd name="connsiteY11" fmla="*/ 20765 h 225456"/>
                <a:gd name="connsiteX12" fmla="*/ 96488 w 157733"/>
                <a:gd name="connsiteY12" fmla="*/ 13811 h 225456"/>
                <a:gd name="connsiteX13" fmla="*/ 126206 w 157733"/>
                <a:gd name="connsiteY13" fmla="*/ 20384 h 225456"/>
                <a:gd name="connsiteX14" fmla="*/ 146685 w 157733"/>
                <a:gd name="connsiteY14" fmla="*/ 36195 h 225456"/>
                <a:gd name="connsiteX15" fmla="*/ 155638 w 157733"/>
                <a:gd name="connsiteY15" fmla="*/ 26003 h 225456"/>
                <a:gd name="connsiteX16" fmla="*/ 145542 w 157733"/>
                <a:gd name="connsiteY16" fmla="*/ 16764 h 225456"/>
                <a:gd name="connsiteX17" fmla="*/ 132493 w 157733"/>
                <a:gd name="connsiteY17" fmla="*/ 8382 h 225456"/>
                <a:gd name="connsiteX18" fmla="*/ 116110 w 157733"/>
                <a:gd name="connsiteY18" fmla="*/ 2286 h 225456"/>
                <a:gd name="connsiteX19" fmla="*/ 96107 w 157733"/>
                <a:gd name="connsiteY19" fmla="*/ 0 h 225456"/>
                <a:gd name="connsiteX20" fmla="*/ 56769 w 157733"/>
                <a:gd name="connsiteY20" fmla="*/ 7715 h 225456"/>
                <a:gd name="connsiteX21" fmla="*/ 26384 w 157733"/>
                <a:gd name="connsiteY21" fmla="*/ 30194 h 225456"/>
                <a:gd name="connsiteX22" fmla="*/ 6953 w 157733"/>
                <a:gd name="connsiteY22" fmla="*/ 65723 h 225456"/>
                <a:gd name="connsiteX23" fmla="*/ 0 w 157733"/>
                <a:gd name="connsiteY23" fmla="*/ 112300 h 225456"/>
                <a:gd name="connsiteX24" fmla="*/ 6763 w 157733"/>
                <a:gd name="connsiteY24" fmla="*/ 159353 h 225456"/>
                <a:gd name="connsiteX25" fmla="*/ 25717 w 157733"/>
                <a:gd name="connsiteY25" fmla="*/ 194977 h 225456"/>
                <a:gd name="connsiteX26" fmla="*/ 55054 w 157733"/>
                <a:gd name="connsiteY26" fmla="*/ 217551 h 225456"/>
                <a:gd name="connsiteX27" fmla="*/ 93345 w 157733"/>
                <a:gd name="connsiteY27" fmla="*/ 225457 h 225456"/>
                <a:gd name="connsiteX28" fmla="*/ 131159 w 157733"/>
                <a:gd name="connsiteY28" fmla="*/ 218504 h 225456"/>
                <a:gd name="connsiteX29" fmla="*/ 157734 w 157733"/>
                <a:gd name="connsiteY29" fmla="*/ 200692 h 225456"/>
                <a:gd name="connsiteX30" fmla="*/ 157734 w 157733"/>
                <a:gd name="connsiteY30" fmla="*/ 114491 h 225456"/>
                <a:gd name="connsiteX31" fmla="*/ 91059 w 157733"/>
                <a:gd name="connsiteY31" fmla="*/ 114491 h 225456"/>
                <a:gd name="connsiteX32" fmla="*/ 91059 w 157733"/>
                <a:gd name="connsiteY32" fmla="*/ 127445 h 225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57733" h="225456">
                  <a:moveTo>
                    <a:pt x="91059" y="127445"/>
                  </a:moveTo>
                  <a:lnTo>
                    <a:pt x="143256" y="127445"/>
                  </a:lnTo>
                  <a:lnTo>
                    <a:pt x="143256" y="195167"/>
                  </a:lnTo>
                  <a:cubicBezTo>
                    <a:pt x="138017" y="200406"/>
                    <a:pt x="130969" y="204502"/>
                    <a:pt x="122301" y="207359"/>
                  </a:cubicBezTo>
                  <a:cubicBezTo>
                    <a:pt x="113633" y="210217"/>
                    <a:pt x="104299" y="211646"/>
                    <a:pt x="94393" y="211646"/>
                  </a:cubicBezTo>
                  <a:cubicBezTo>
                    <a:pt x="82105" y="211646"/>
                    <a:pt x="70961" y="209264"/>
                    <a:pt x="61246" y="204502"/>
                  </a:cubicBezTo>
                  <a:cubicBezTo>
                    <a:pt x="51435" y="199739"/>
                    <a:pt x="43243" y="193072"/>
                    <a:pt x="36481" y="184499"/>
                  </a:cubicBezTo>
                  <a:cubicBezTo>
                    <a:pt x="29718" y="175927"/>
                    <a:pt x="24670" y="165544"/>
                    <a:pt x="21146" y="153257"/>
                  </a:cubicBezTo>
                  <a:cubicBezTo>
                    <a:pt x="17621" y="141065"/>
                    <a:pt x="15907" y="127349"/>
                    <a:pt x="15907" y="112205"/>
                  </a:cubicBezTo>
                  <a:cubicBezTo>
                    <a:pt x="15907" y="97060"/>
                    <a:pt x="17812" y="83344"/>
                    <a:pt x="21526" y="71247"/>
                  </a:cubicBezTo>
                  <a:cubicBezTo>
                    <a:pt x="25241" y="59150"/>
                    <a:pt x="30575" y="48863"/>
                    <a:pt x="37529" y="40386"/>
                  </a:cubicBezTo>
                  <a:cubicBezTo>
                    <a:pt x="44482" y="31909"/>
                    <a:pt x="52864" y="25337"/>
                    <a:pt x="62770" y="20765"/>
                  </a:cubicBezTo>
                  <a:cubicBezTo>
                    <a:pt x="72676" y="16097"/>
                    <a:pt x="83915" y="13811"/>
                    <a:pt x="96488" y="13811"/>
                  </a:cubicBezTo>
                  <a:cubicBezTo>
                    <a:pt x="108395" y="13811"/>
                    <a:pt x="118300" y="16002"/>
                    <a:pt x="126206" y="20384"/>
                  </a:cubicBezTo>
                  <a:cubicBezTo>
                    <a:pt x="134112" y="24765"/>
                    <a:pt x="140970" y="30099"/>
                    <a:pt x="146685" y="36195"/>
                  </a:cubicBezTo>
                  <a:lnTo>
                    <a:pt x="155638" y="26003"/>
                  </a:lnTo>
                  <a:cubicBezTo>
                    <a:pt x="152781" y="22955"/>
                    <a:pt x="149447" y="19812"/>
                    <a:pt x="145542" y="16764"/>
                  </a:cubicBezTo>
                  <a:cubicBezTo>
                    <a:pt x="141637" y="13716"/>
                    <a:pt x="137350" y="10859"/>
                    <a:pt x="132493" y="8382"/>
                  </a:cubicBezTo>
                  <a:cubicBezTo>
                    <a:pt x="127635" y="5810"/>
                    <a:pt x="122206" y="3810"/>
                    <a:pt x="116110" y="2286"/>
                  </a:cubicBezTo>
                  <a:cubicBezTo>
                    <a:pt x="110014" y="762"/>
                    <a:pt x="103442" y="0"/>
                    <a:pt x="96107" y="0"/>
                  </a:cubicBezTo>
                  <a:cubicBezTo>
                    <a:pt x="81820" y="0"/>
                    <a:pt x="68675" y="2572"/>
                    <a:pt x="56769" y="7715"/>
                  </a:cubicBezTo>
                  <a:cubicBezTo>
                    <a:pt x="44863" y="12859"/>
                    <a:pt x="34766" y="20384"/>
                    <a:pt x="26384" y="30194"/>
                  </a:cubicBezTo>
                  <a:cubicBezTo>
                    <a:pt x="18002" y="40005"/>
                    <a:pt x="11525" y="51816"/>
                    <a:pt x="6953" y="65723"/>
                  </a:cubicBezTo>
                  <a:cubicBezTo>
                    <a:pt x="2381" y="79629"/>
                    <a:pt x="0" y="95059"/>
                    <a:pt x="0" y="112300"/>
                  </a:cubicBezTo>
                  <a:cubicBezTo>
                    <a:pt x="0" y="129731"/>
                    <a:pt x="2286" y="145352"/>
                    <a:pt x="6763" y="159353"/>
                  </a:cubicBezTo>
                  <a:cubicBezTo>
                    <a:pt x="11239" y="173355"/>
                    <a:pt x="17621" y="185261"/>
                    <a:pt x="25717" y="194977"/>
                  </a:cubicBezTo>
                  <a:cubicBezTo>
                    <a:pt x="33814" y="204788"/>
                    <a:pt x="43625" y="212312"/>
                    <a:pt x="55054" y="217551"/>
                  </a:cubicBezTo>
                  <a:cubicBezTo>
                    <a:pt x="66484" y="222790"/>
                    <a:pt x="79248" y="225457"/>
                    <a:pt x="93345" y="225457"/>
                  </a:cubicBezTo>
                  <a:cubicBezTo>
                    <a:pt x="107633" y="225457"/>
                    <a:pt x="120205" y="223171"/>
                    <a:pt x="131159" y="218504"/>
                  </a:cubicBezTo>
                  <a:cubicBezTo>
                    <a:pt x="142018" y="213836"/>
                    <a:pt x="150876" y="207931"/>
                    <a:pt x="157734" y="200692"/>
                  </a:cubicBezTo>
                  <a:lnTo>
                    <a:pt x="157734" y="114491"/>
                  </a:lnTo>
                  <a:lnTo>
                    <a:pt x="91059" y="114491"/>
                  </a:lnTo>
                  <a:lnTo>
                    <a:pt x="91059" y="1274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Vrije vorm: vorm 37">
              <a:extLst>
                <a:ext uri="{FF2B5EF4-FFF2-40B4-BE49-F238E27FC236}">
                  <a16:creationId xmlns:a16="http://schemas.microsoft.com/office/drawing/2014/main" id="{EE04689D-D589-4B90-B108-EA7F094FBB7E}"/>
                </a:ext>
              </a:extLst>
            </p:cNvPr>
            <p:cNvSpPr/>
            <p:nvPr/>
          </p:nvSpPr>
          <p:spPr>
            <a:xfrm>
              <a:off x="6884764" y="3318605"/>
              <a:ext cx="137922" cy="217551"/>
            </a:xfrm>
            <a:custGeom>
              <a:avLst/>
              <a:gdLst>
                <a:gd name="connsiteX0" fmla="*/ 118681 w 137922"/>
                <a:gd name="connsiteY0" fmla="*/ 98393 h 217551"/>
                <a:gd name="connsiteX1" fmla="*/ 133731 w 137922"/>
                <a:gd name="connsiteY1" fmla="*/ 57436 h 217551"/>
                <a:gd name="connsiteX2" fmla="*/ 128588 w 137922"/>
                <a:gd name="connsiteY2" fmla="*/ 31052 h 217551"/>
                <a:gd name="connsiteX3" fmla="*/ 114205 w 137922"/>
                <a:gd name="connsiteY3" fmla="*/ 13240 h 217551"/>
                <a:gd name="connsiteX4" fmla="*/ 91726 w 137922"/>
                <a:gd name="connsiteY4" fmla="*/ 3143 h 217551"/>
                <a:gd name="connsiteX5" fmla="*/ 62389 w 137922"/>
                <a:gd name="connsiteY5" fmla="*/ 0 h 217551"/>
                <a:gd name="connsiteX6" fmla="*/ 0 w 137922"/>
                <a:gd name="connsiteY6" fmla="*/ 0 h 217551"/>
                <a:gd name="connsiteX7" fmla="*/ 0 w 137922"/>
                <a:gd name="connsiteY7" fmla="*/ 217551 h 217551"/>
                <a:gd name="connsiteX8" fmla="*/ 15145 w 137922"/>
                <a:gd name="connsiteY8" fmla="*/ 217551 h 217551"/>
                <a:gd name="connsiteX9" fmla="*/ 15145 w 137922"/>
                <a:gd name="connsiteY9" fmla="*/ 117539 h 217551"/>
                <a:gd name="connsiteX10" fmla="*/ 61341 w 137922"/>
                <a:gd name="connsiteY10" fmla="*/ 117539 h 217551"/>
                <a:gd name="connsiteX11" fmla="*/ 120396 w 137922"/>
                <a:gd name="connsiteY11" fmla="*/ 217551 h 217551"/>
                <a:gd name="connsiteX12" fmla="*/ 137922 w 137922"/>
                <a:gd name="connsiteY12" fmla="*/ 217551 h 217551"/>
                <a:gd name="connsiteX13" fmla="*/ 77819 w 137922"/>
                <a:gd name="connsiteY13" fmla="*/ 116491 h 217551"/>
                <a:gd name="connsiteX14" fmla="*/ 118681 w 137922"/>
                <a:gd name="connsiteY14" fmla="*/ 98393 h 217551"/>
                <a:gd name="connsiteX15" fmla="*/ 58388 w 137922"/>
                <a:gd name="connsiteY15" fmla="*/ 105061 h 217551"/>
                <a:gd name="connsiteX16" fmla="*/ 15145 w 137922"/>
                <a:gd name="connsiteY16" fmla="*/ 105061 h 217551"/>
                <a:gd name="connsiteX17" fmla="*/ 15145 w 137922"/>
                <a:gd name="connsiteY17" fmla="*/ 12954 h 217551"/>
                <a:gd name="connsiteX18" fmla="*/ 58388 w 137922"/>
                <a:gd name="connsiteY18" fmla="*/ 12954 h 217551"/>
                <a:gd name="connsiteX19" fmla="*/ 102584 w 137922"/>
                <a:gd name="connsiteY19" fmla="*/ 23051 h 217551"/>
                <a:gd name="connsiteX20" fmla="*/ 118110 w 137922"/>
                <a:gd name="connsiteY20" fmla="*/ 57531 h 217551"/>
                <a:gd name="connsiteX21" fmla="*/ 102775 w 137922"/>
                <a:gd name="connsiteY21" fmla="*/ 93345 h 217551"/>
                <a:gd name="connsiteX22" fmla="*/ 58388 w 137922"/>
                <a:gd name="connsiteY22" fmla="*/ 105061 h 217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7922" h="217551">
                  <a:moveTo>
                    <a:pt x="118681" y="98393"/>
                  </a:moveTo>
                  <a:cubicBezTo>
                    <a:pt x="128683" y="88487"/>
                    <a:pt x="133731" y="74867"/>
                    <a:pt x="133731" y="57436"/>
                  </a:cubicBezTo>
                  <a:cubicBezTo>
                    <a:pt x="133731" y="47054"/>
                    <a:pt x="132017" y="38291"/>
                    <a:pt x="128588" y="31052"/>
                  </a:cubicBezTo>
                  <a:cubicBezTo>
                    <a:pt x="125159" y="23813"/>
                    <a:pt x="120396" y="17812"/>
                    <a:pt x="114205" y="13240"/>
                  </a:cubicBezTo>
                  <a:cubicBezTo>
                    <a:pt x="108013" y="8572"/>
                    <a:pt x="100584" y="5239"/>
                    <a:pt x="91726" y="3143"/>
                  </a:cubicBezTo>
                  <a:cubicBezTo>
                    <a:pt x="82963" y="1048"/>
                    <a:pt x="73152" y="0"/>
                    <a:pt x="62389" y="0"/>
                  </a:cubicBezTo>
                  <a:lnTo>
                    <a:pt x="0" y="0"/>
                  </a:lnTo>
                  <a:lnTo>
                    <a:pt x="0" y="217551"/>
                  </a:lnTo>
                  <a:lnTo>
                    <a:pt x="15145" y="217551"/>
                  </a:lnTo>
                  <a:lnTo>
                    <a:pt x="15145" y="117539"/>
                  </a:lnTo>
                  <a:lnTo>
                    <a:pt x="61341" y="117539"/>
                  </a:lnTo>
                  <a:lnTo>
                    <a:pt x="120396" y="217551"/>
                  </a:lnTo>
                  <a:lnTo>
                    <a:pt x="137922" y="217551"/>
                  </a:lnTo>
                  <a:lnTo>
                    <a:pt x="77819" y="116491"/>
                  </a:lnTo>
                  <a:cubicBezTo>
                    <a:pt x="95059" y="114395"/>
                    <a:pt x="108680" y="108299"/>
                    <a:pt x="118681" y="98393"/>
                  </a:cubicBezTo>
                  <a:close/>
                  <a:moveTo>
                    <a:pt x="58388" y="105061"/>
                  </a:moveTo>
                  <a:lnTo>
                    <a:pt x="15145" y="105061"/>
                  </a:lnTo>
                  <a:lnTo>
                    <a:pt x="15145" y="12954"/>
                  </a:lnTo>
                  <a:lnTo>
                    <a:pt x="58388" y="12954"/>
                  </a:lnTo>
                  <a:cubicBezTo>
                    <a:pt x="77533" y="12954"/>
                    <a:pt x="92297" y="16288"/>
                    <a:pt x="102584" y="23051"/>
                  </a:cubicBezTo>
                  <a:cubicBezTo>
                    <a:pt x="112967" y="29813"/>
                    <a:pt x="118110" y="41243"/>
                    <a:pt x="118110" y="57531"/>
                  </a:cubicBezTo>
                  <a:cubicBezTo>
                    <a:pt x="118110" y="73628"/>
                    <a:pt x="112967" y="85535"/>
                    <a:pt x="102775" y="93345"/>
                  </a:cubicBezTo>
                  <a:cubicBezTo>
                    <a:pt x="92583" y="101156"/>
                    <a:pt x="77724" y="105061"/>
                    <a:pt x="58388" y="1050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Vrije vorm: vorm 38">
              <a:extLst>
                <a:ext uri="{FF2B5EF4-FFF2-40B4-BE49-F238E27FC236}">
                  <a16:creationId xmlns:a16="http://schemas.microsoft.com/office/drawing/2014/main" id="{607CCF08-C0AE-438B-BB8F-CC5EC3A923DE}"/>
                </a:ext>
              </a:extLst>
            </p:cNvPr>
            <p:cNvSpPr/>
            <p:nvPr/>
          </p:nvSpPr>
          <p:spPr>
            <a:xfrm>
              <a:off x="7053452" y="3314700"/>
              <a:ext cx="179165" cy="225456"/>
            </a:xfrm>
            <a:custGeom>
              <a:avLst/>
              <a:gdLst>
                <a:gd name="connsiteX0" fmla="*/ 154115 w 179165"/>
                <a:gd name="connsiteY0" fmla="*/ 30194 h 225456"/>
                <a:gd name="connsiteX1" fmla="*/ 125730 w 179165"/>
                <a:gd name="connsiteY1" fmla="*/ 7715 h 225456"/>
                <a:gd name="connsiteX2" fmla="*/ 89440 w 179165"/>
                <a:gd name="connsiteY2" fmla="*/ 0 h 225456"/>
                <a:gd name="connsiteX3" fmla="*/ 53435 w 179165"/>
                <a:gd name="connsiteY3" fmla="*/ 7715 h 225456"/>
                <a:gd name="connsiteX4" fmla="*/ 25051 w 179165"/>
                <a:gd name="connsiteY4" fmla="*/ 30194 h 225456"/>
                <a:gd name="connsiteX5" fmla="*/ 6572 w 179165"/>
                <a:gd name="connsiteY5" fmla="*/ 65532 h 225456"/>
                <a:gd name="connsiteX6" fmla="*/ 0 w 179165"/>
                <a:gd name="connsiteY6" fmla="*/ 111919 h 225456"/>
                <a:gd name="connsiteX7" fmla="*/ 6572 w 179165"/>
                <a:gd name="connsiteY7" fmla="*/ 158591 h 225456"/>
                <a:gd name="connsiteX8" fmla="*/ 25051 w 179165"/>
                <a:gd name="connsiteY8" fmla="*/ 194405 h 225456"/>
                <a:gd name="connsiteX9" fmla="*/ 53435 w 179165"/>
                <a:gd name="connsiteY9" fmla="*/ 217361 h 225456"/>
                <a:gd name="connsiteX10" fmla="*/ 89440 w 179165"/>
                <a:gd name="connsiteY10" fmla="*/ 225457 h 225456"/>
                <a:gd name="connsiteX11" fmla="*/ 125730 w 179165"/>
                <a:gd name="connsiteY11" fmla="*/ 217361 h 225456"/>
                <a:gd name="connsiteX12" fmla="*/ 154115 w 179165"/>
                <a:gd name="connsiteY12" fmla="*/ 194405 h 225456"/>
                <a:gd name="connsiteX13" fmla="*/ 172593 w 179165"/>
                <a:gd name="connsiteY13" fmla="*/ 158591 h 225456"/>
                <a:gd name="connsiteX14" fmla="*/ 179165 w 179165"/>
                <a:gd name="connsiteY14" fmla="*/ 111919 h 225456"/>
                <a:gd name="connsiteX15" fmla="*/ 172593 w 179165"/>
                <a:gd name="connsiteY15" fmla="*/ 65532 h 225456"/>
                <a:gd name="connsiteX16" fmla="*/ 154115 w 179165"/>
                <a:gd name="connsiteY16" fmla="*/ 30194 h 225456"/>
                <a:gd name="connsiteX17" fmla="*/ 157734 w 179165"/>
                <a:gd name="connsiteY17" fmla="*/ 152972 h 225456"/>
                <a:gd name="connsiteX18" fmla="*/ 142685 w 179165"/>
                <a:gd name="connsiteY18" fmla="*/ 184309 h 225456"/>
                <a:gd name="connsiteX19" fmla="*/ 119444 w 179165"/>
                <a:gd name="connsiteY19" fmla="*/ 204406 h 225456"/>
                <a:gd name="connsiteX20" fmla="*/ 89440 w 179165"/>
                <a:gd name="connsiteY20" fmla="*/ 211550 h 225456"/>
                <a:gd name="connsiteX21" fmla="*/ 59246 w 179165"/>
                <a:gd name="connsiteY21" fmla="*/ 204406 h 225456"/>
                <a:gd name="connsiteX22" fmla="*/ 36004 w 179165"/>
                <a:gd name="connsiteY22" fmla="*/ 184309 h 225456"/>
                <a:gd name="connsiteX23" fmla="*/ 21146 w 179165"/>
                <a:gd name="connsiteY23" fmla="*/ 152972 h 225456"/>
                <a:gd name="connsiteX24" fmla="*/ 15907 w 179165"/>
                <a:gd name="connsiteY24" fmla="*/ 111919 h 225456"/>
                <a:gd name="connsiteX25" fmla="*/ 21146 w 179165"/>
                <a:gd name="connsiteY25" fmla="*/ 71342 h 225456"/>
                <a:gd name="connsiteX26" fmla="*/ 36004 w 179165"/>
                <a:gd name="connsiteY26" fmla="*/ 40481 h 225456"/>
                <a:gd name="connsiteX27" fmla="*/ 59246 w 179165"/>
                <a:gd name="connsiteY27" fmla="*/ 20860 h 225456"/>
                <a:gd name="connsiteX28" fmla="*/ 89440 w 179165"/>
                <a:gd name="connsiteY28" fmla="*/ 13907 h 225456"/>
                <a:gd name="connsiteX29" fmla="*/ 119444 w 179165"/>
                <a:gd name="connsiteY29" fmla="*/ 20860 h 225456"/>
                <a:gd name="connsiteX30" fmla="*/ 142685 w 179165"/>
                <a:gd name="connsiteY30" fmla="*/ 40481 h 225456"/>
                <a:gd name="connsiteX31" fmla="*/ 157734 w 179165"/>
                <a:gd name="connsiteY31" fmla="*/ 71342 h 225456"/>
                <a:gd name="connsiteX32" fmla="*/ 162973 w 179165"/>
                <a:gd name="connsiteY32" fmla="*/ 111919 h 225456"/>
                <a:gd name="connsiteX33" fmla="*/ 157734 w 179165"/>
                <a:gd name="connsiteY33" fmla="*/ 152972 h 225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79165" h="225456">
                  <a:moveTo>
                    <a:pt x="154115" y="30194"/>
                  </a:moveTo>
                  <a:cubicBezTo>
                    <a:pt x="146209" y="20384"/>
                    <a:pt x="136684" y="12954"/>
                    <a:pt x="125730" y="7715"/>
                  </a:cubicBezTo>
                  <a:cubicBezTo>
                    <a:pt x="114776" y="2572"/>
                    <a:pt x="102679" y="0"/>
                    <a:pt x="89440" y="0"/>
                  </a:cubicBezTo>
                  <a:cubicBezTo>
                    <a:pt x="76486" y="0"/>
                    <a:pt x="64484" y="2572"/>
                    <a:pt x="53435" y="7715"/>
                  </a:cubicBezTo>
                  <a:cubicBezTo>
                    <a:pt x="42386" y="12859"/>
                    <a:pt x="32957" y="20384"/>
                    <a:pt x="25051" y="30194"/>
                  </a:cubicBezTo>
                  <a:cubicBezTo>
                    <a:pt x="17145" y="40005"/>
                    <a:pt x="10954" y="51816"/>
                    <a:pt x="6572" y="65532"/>
                  </a:cubicBezTo>
                  <a:cubicBezTo>
                    <a:pt x="2191" y="79248"/>
                    <a:pt x="0" y="94774"/>
                    <a:pt x="0" y="111919"/>
                  </a:cubicBezTo>
                  <a:cubicBezTo>
                    <a:pt x="0" y="129064"/>
                    <a:pt x="2191" y="144685"/>
                    <a:pt x="6572" y="158591"/>
                  </a:cubicBezTo>
                  <a:cubicBezTo>
                    <a:pt x="10954" y="172593"/>
                    <a:pt x="17145" y="184499"/>
                    <a:pt x="25051" y="194405"/>
                  </a:cubicBezTo>
                  <a:cubicBezTo>
                    <a:pt x="32957" y="204311"/>
                    <a:pt x="42482" y="211931"/>
                    <a:pt x="53435" y="217361"/>
                  </a:cubicBezTo>
                  <a:cubicBezTo>
                    <a:pt x="64389" y="222790"/>
                    <a:pt x="76486" y="225457"/>
                    <a:pt x="89440" y="225457"/>
                  </a:cubicBezTo>
                  <a:cubicBezTo>
                    <a:pt x="102679" y="225457"/>
                    <a:pt x="114776" y="222790"/>
                    <a:pt x="125730" y="217361"/>
                  </a:cubicBezTo>
                  <a:cubicBezTo>
                    <a:pt x="136779" y="211931"/>
                    <a:pt x="146209" y="204311"/>
                    <a:pt x="154115" y="194405"/>
                  </a:cubicBezTo>
                  <a:cubicBezTo>
                    <a:pt x="162020" y="184499"/>
                    <a:pt x="168212" y="172593"/>
                    <a:pt x="172593" y="158591"/>
                  </a:cubicBezTo>
                  <a:cubicBezTo>
                    <a:pt x="176975" y="144590"/>
                    <a:pt x="179165" y="129064"/>
                    <a:pt x="179165" y="111919"/>
                  </a:cubicBezTo>
                  <a:cubicBezTo>
                    <a:pt x="179165" y="94774"/>
                    <a:pt x="176975" y="79248"/>
                    <a:pt x="172593" y="65532"/>
                  </a:cubicBezTo>
                  <a:cubicBezTo>
                    <a:pt x="168212" y="51816"/>
                    <a:pt x="162116" y="40005"/>
                    <a:pt x="154115" y="30194"/>
                  </a:cubicBezTo>
                  <a:close/>
                  <a:moveTo>
                    <a:pt x="157734" y="152972"/>
                  </a:moveTo>
                  <a:cubicBezTo>
                    <a:pt x="154210" y="165164"/>
                    <a:pt x="149162" y="175641"/>
                    <a:pt x="142685" y="184309"/>
                  </a:cubicBezTo>
                  <a:cubicBezTo>
                    <a:pt x="136208" y="192977"/>
                    <a:pt x="128397" y="199739"/>
                    <a:pt x="119444" y="204406"/>
                  </a:cubicBezTo>
                  <a:cubicBezTo>
                    <a:pt x="110395" y="209169"/>
                    <a:pt x="100394" y="211550"/>
                    <a:pt x="89440" y="211550"/>
                  </a:cubicBezTo>
                  <a:cubicBezTo>
                    <a:pt x="78486" y="211550"/>
                    <a:pt x="68390" y="209169"/>
                    <a:pt x="59246" y="204406"/>
                  </a:cubicBezTo>
                  <a:cubicBezTo>
                    <a:pt x="50102" y="199644"/>
                    <a:pt x="42386" y="192977"/>
                    <a:pt x="36004" y="184309"/>
                  </a:cubicBezTo>
                  <a:cubicBezTo>
                    <a:pt x="29623" y="175641"/>
                    <a:pt x="24670" y="165164"/>
                    <a:pt x="21146" y="152972"/>
                  </a:cubicBezTo>
                  <a:cubicBezTo>
                    <a:pt x="17621" y="140780"/>
                    <a:pt x="15907" y="127064"/>
                    <a:pt x="15907" y="111919"/>
                  </a:cubicBezTo>
                  <a:cubicBezTo>
                    <a:pt x="15907" y="96965"/>
                    <a:pt x="17621" y="83439"/>
                    <a:pt x="21146" y="71342"/>
                  </a:cubicBezTo>
                  <a:cubicBezTo>
                    <a:pt x="24670" y="59245"/>
                    <a:pt x="29623" y="48959"/>
                    <a:pt x="36004" y="40481"/>
                  </a:cubicBezTo>
                  <a:cubicBezTo>
                    <a:pt x="42386" y="32004"/>
                    <a:pt x="50102" y="25432"/>
                    <a:pt x="59246" y="20860"/>
                  </a:cubicBezTo>
                  <a:cubicBezTo>
                    <a:pt x="68390" y="16193"/>
                    <a:pt x="78486" y="13907"/>
                    <a:pt x="89440" y="13907"/>
                  </a:cubicBezTo>
                  <a:cubicBezTo>
                    <a:pt x="100394" y="13907"/>
                    <a:pt x="110490" y="16193"/>
                    <a:pt x="119444" y="20860"/>
                  </a:cubicBezTo>
                  <a:cubicBezTo>
                    <a:pt x="128492" y="25432"/>
                    <a:pt x="136208" y="32004"/>
                    <a:pt x="142685" y="40481"/>
                  </a:cubicBezTo>
                  <a:cubicBezTo>
                    <a:pt x="149162" y="48959"/>
                    <a:pt x="154210" y="59245"/>
                    <a:pt x="157734" y="71342"/>
                  </a:cubicBezTo>
                  <a:cubicBezTo>
                    <a:pt x="161258" y="83439"/>
                    <a:pt x="162973" y="96965"/>
                    <a:pt x="162973" y="111919"/>
                  </a:cubicBezTo>
                  <a:cubicBezTo>
                    <a:pt x="163068" y="127064"/>
                    <a:pt x="161258" y="140780"/>
                    <a:pt x="157734" y="15297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Vrije vorm: vorm 39">
              <a:extLst>
                <a:ext uri="{FF2B5EF4-FFF2-40B4-BE49-F238E27FC236}">
                  <a16:creationId xmlns:a16="http://schemas.microsoft.com/office/drawing/2014/main" id="{E445CF68-B49D-40C5-8A63-D5984A2285CD}"/>
                </a:ext>
              </a:extLst>
            </p:cNvPr>
            <p:cNvSpPr/>
            <p:nvPr/>
          </p:nvSpPr>
          <p:spPr>
            <a:xfrm>
              <a:off x="7285386" y="3318700"/>
              <a:ext cx="146589" cy="221456"/>
            </a:xfrm>
            <a:custGeom>
              <a:avLst/>
              <a:gdLst>
                <a:gd name="connsiteX0" fmla="*/ 132207 w 146589"/>
                <a:gd name="connsiteY0" fmla="*/ 132302 h 221456"/>
                <a:gd name="connsiteX1" fmla="*/ 127254 w 146589"/>
                <a:gd name="connsiteY1" fmla="*/ 168402 h 221456"/>
                <a:gd name="connsiteX2" fmla="*/ 114205 w 146589"/>
                <a:gd name="connsiteY2" fmla="*/ 191548 h 221456"/>
                <a:gd name="connsiteX3" fmla="*/ 95345 w 146589"/>
                <a:gd name="connsiteY3" fmla="*/ 203930 h 221456"/>
                <a:gd name="connsiteX4" fmla="*/ 72771 w 146589"/>
                <a:gd name="connsiteY4" fmla="*/ 207550 h 221456"/>
                <a:gd name="connsiteX5" fmla="*/ 50863 w 146589"/>
                <a:gd name="connsiteY5" fmla="*/ 203930 h 221456"/>
                <a:gd name="connsiteX6" fmla="*/ 32576 w 146589"/>
                <a:gd name="connsiteY6" fmla="*/ 191548 h 221456"/>
                <a:gd name="connsiteX7" fmla="*/ 19907 w 146589"/>
                <a:gd name="connsiteY7" fmla="*/ 168402 h 221456"/>
                <a:gd name="connsiteX8" fmla="*/ 15145 w 146589"/>
                <a:gd name="connsiteY8" fmla="*/ 132302 h 221456"/>
                <a:gd name="connsiteX9" fmla="*/ 15145 w 146589"/>
                <a:gd name="connsiteY9" fmla="*/ 0 h 221456"/>
                <a:gd name="connsiteX10" fmla="*/ 0 w 146589"/>
                <a:gd name="connsiteY10" fmla="*/ 0 h 221456"/>
                <a:gd name="connsiteX11" fmla="*/ 0 w 146589"/>
                <a:gd name="connsiteY11" fmla="*/ 134017 h 221456"/>
                <a:gd name="connsiteX12" fmla="*/ 6096 w 146589"/>
                <a:gd name="connsiteY12" fmla="*/ 176308 h 221456"/>
                <a:gd name="connsiteX13" fmla="*/ 22479 w 146589"/>
                <a:gd name="connsiteY13" fmla="*/ 203168 h 221456"/>
                <a:gd name="connsiteX14" fmla="*/ 45911 w 146589"/>
                <a:gd name="connsiteY14" fmla="*/ 217361 h 221456"/>
                <a:gd name="connsiteX15" fmla="*/ 72962 w 146589"/>
                <a:gd name="connsiteY15" fmla="*/ 221456 h 221456"/>
                <a:gd name="connsiteX16" fmla="*/ 100394 w 146589"/>
                <a:gd name="connsiteY16" fmla="*/ 217361 h 221456"/>
                <a:gd name="connsiteX17" fmla="*/ 123825 w 146589"/>
                <a:gd name="connsiteY17" fmla="*/ 203168 h 221456"/>
                <a:gd name="connsiteX18" fmla="*/ 140303 w 146589"/>
                <a:gd name="connsiteY18" fmla="*/ 176308 h 221456"/>
                <a:gd name="connsiteX19" fmla="*/ 146590 w 146589"/>
                <a:gd name="connsiteY19" fmla="*/ 134017 h 221456"/>
                <a:gd name="connsiteX20" fmla="*/ 146590 w 146589"/>
                <a:gd name="connsiteY20" fmla="*/ 0 h 221456"/>
                <a:gd name="connsiteX21" fmla="*/ 132397 w 146589"/>
                <a:gd name="connsiteY21" fmla="*/ 0 h 221456"/>
                <a:gd name="connsiteX22" fmla="*/ 132397 w 146589"/>
                <a:gd name="connsiteY22" fmla="*/ 132302 h 22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6589" h="221456">
                  <a:moveTo>
                    <a:pt x="132207" y="132302"/>
                  </a:moveTo>
                  <a:cubicBezTo>
                    <a:pt x="132207" y="146780"/>
                    <a:pt x="130588" y="158877"/>
                    <a:pt x="127254" y="168402"/>
                  </a:cubicBezTo>
                  <a:cubicBezTo>
                    <a:pt x="123920" y="178022"/>
                    <a:pt x="119634" y="185642"/>
                    <a:pt x="114205" y="191548"/>
                  </a:cubicBezTo>
                  <a:cubicBezTo>
                    <a:pt x="108776" y="197358"/>
                    <a:pt x="102584" y="201549"/>
                    <a:pt x="95345" y="203930"/>
                  </a:cubicBezTo>
                  <a:cubicBezTo>
                    <a:pt x="88202" y="206312"/>
                    <a:pt x="80677" y="207550"/>
                    <a:pt x="72771" y="207550"/>
                  </a:cubicBezTo>
                  <a:cubicBezTo>
                    <a:pt x="65056" y="207550"/>
                    <a:pt x="57721" y="206312"/>
                    <a:pt x="50863" y="203930"/>
                  </a:cubicBezTo>
                  <a:cubicBezTo>
                    <a:pt x="43910" y="201549"/>
                    <a:pt x="37814" y="197358"/>
                    <a:pt x="32576" y="191548"/>
                  </a:cubicBezTo>
                  <a:cubicBezTo>
                    <a:pt x="27337" y="185738"/>
                    <a:pt x="23051" y="178022"/>
                    <a:pt x="19907" y="168402"/>
                  </a:cubicBezTo>
                  <a:cubicBezTo>
                    <a:pt x="16764" y="158877"/>
                    <a:pt x="15145" y="146780"/>
                    <a:pt x="15145" y="132302"/>
                  </a:cubicBezTo>
                  <a:lnTo>
                    <a:pt x="15145" y="0"/>
                  </a:lnTo>
                  <a:lnTo>
                    <a:pt x="0" y="0"/>
                  </a:lnTo>
                  <a:lnTo>
                    <a:pt x="0" y="134017"/>
                  </a:lnTo>
                  <a:cubicBezTo>
                    <a:pt x="0" y="150971"/>
                    <a:pt x="2000" y="165068"/>
                    <a:pt x="6096" y="176308"/>
                  </a:cubicBezTo>
                  <a:cubicBezTo>
                    <a:pt x="10192" y="187547"/>
                    <a:pt x="15621" y="196501"/>
                    <a:pt x="22479" y="203168"/>
                  </a:cubicBezTo>
                  <a:cubicBezTo>
                    <a:pt x="29337" y="209931"/>
                    <a:pt x="37147" y="214598"/>
                    <a:pt x="45911" y="217361"/>
                  </a:cubicBezTo>
                  <a:cubicBezTo>
                    <a:pt x="54673" y="220123"/>
                    <a:pt x="63722" y="221456"/>
                    <a:pt x="72962" y="221456"/>
                  </a:cubicBezTo>
                  <a:cubicBezTo>
                    <a:pt x="82391" y="221456"/>
                    <a:pt x="91535" y="220123"/>
                    <a:pt x="100394" y="217361"/>
                  </a:cubicBezTo>
                  <a:cubicBezTo>
                    <a:pt x="109156" y="214598"/>
                    <a:pt x="116967" y="209836"/>
                    <a:pt x="123825" y="203168"/>
                  </a:cubicBezTo>
                  <a:cubicBezTo>
                    <a:pt x="130683" y="196501"/>
                    <a:pt x="136112" y="187452"/>
                    <a:pt x="140303" y="176308"/>
                  </a:cubicBezTo>
                  <a:cubicBezTo>
                    <a:pt x="144494" y="165068"/>
                    <a:pt x="146590" y="150971"/>
                    <a:pt x="146590" y="134017"/>
                  </a:cubicBezTo>
                  <a:lnTo>
                    <a:pt x="146590" y="0"/>
                  </a:lnTo>
                  <a:lnTo>
                    <a:pt x="132397" y="0"/>
                  </a:lnTo>
                  <a:lnTo>
                    <a:pt x="132397" y="13230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Vrije vorm: vorm 40">
              <a:extLst>
                <a:ext uri="{FF2B5EF4-FFF2-40B4-BE49-F238E27FC236}">
                  <a16:creationId xmlns:a16="http://schemas.microsoft.com/office/drawing/2014/main" id="{F65BF1C0-E4E4-42BD-9FB4-C4FBF4D77F4C}"/>
                </a:ext>
              </a:extLst>
            </p:cNvPr>
            <p:cNvSpPr/>
            <p:nvPr/>
          </p:nvSpPr>
          <p:spPr>
            <a:xfrm>
              <a:off x="7498460" y="3318605"/>
              <a:ext cx="133731" cy="217551"/>
            </a:xfrm>
            <a:custGeom>
              <a:avLst/>
              <a:gdLst>
                <a:gd name="connsiteX0" fmla="*/ 128207 w 133731"/>
                <a:gd name="connsiteY0" fmla="*/ 32385 h 217551"/>
                <a:gd name="connsiteX1" fmla="*/ 112681 w 133731"/>
                <a:gd name="connsiteY1" fmla="*/ 13526 h 217551"/>
                <a:gd name="connsiteX2" fmla="*/ 87916 w 133731"/>
                <a:gd name="connsiteY2" fmla="*/ 3143 h 217551"/>
                <a:gd name="connsiteX3" fmla="*/ 54769 w 133731"/>
                <a:gd name="connsiteY3" fmla="*/ 0 h 217551"/>
                <a:gd name="connsiteX4" fmla="*/ 0 w 133731"/>
                <a:gd name="connsiteY4" fmla="*/ 0 h 217551"/>
                <a:gd name="connsiteX5" fmla="*/ 0 w 133731"/>
                <a:gd name="connsiteY5" fmla="*/ 217551 h 217551"/>
                <a:gd name="connsiteX6" fmla="*/ 15145 w 133731"/>
                <a:gd name="connsiteY6" fmla="*/ 217551 h 217551"/>
                <a:gd name="connsiteX7" fmla="*/ 15145 w 133731"/>
                <a:gd name="connsiteY7" fmla="*/ 124111 h 217551"/>
                <a:gd name="connsiteX8" fmla="*/ 56102 w 133731"/>
                <a:gd name="connsiteY8" fmla="*/ 124111 h 217551"/>
                <a:gd name="connsiteX9" fmla="*/ 113252 w 133731"/>
                <a:gd name="connsiteY9" fmla="*/ 108395 h 217551"/>
                <a:gd name="connsiteX10" fmla="*/ 133731 w 133731"/>
                <a:gd name="connsiteY10" fmla="*/ 60674 h 217551"/>
                <a:gd name="connsiteX11" fmla="*/ 128207 w 133731"/>
                <a:gd name="connsiteY11" fmla="*/ 32385 h 217551"/>
                <a:gd name="connsiteX12" fmla="*/ 102013 w 133731"/>
                <a:gd name="connsiteY12" fmla="*/ 99441 h 217551"/>
                <a:gd name="connsiteX13" fmla="*/ 52483 w 133731"/>
                <a:gd name="connsiteY13" fmla="*/ 111347 h 217551"/>
                <a:gd name="connsiteX14" fmla="*/ 15145 w 133731"/>
                <a:gd name="connsiteY14" fmla="*/ 111347 h 217551"/>
                <a:gd name="connsiteX15" fmla="*/ 15145 w 133731"/>
                <a:gd name="connsiteY15" fmla="*/ 12954 h 217551"/>
                <a:gd name="connsiteX16" fmla="*/ 51149 w 133731"/>
                <a:gd name="connsiteY16" fmla="*/ 12954 h 217551"/>
                <a:gd name="connsiteX17" fmla="*/ 101537 w 133731"/>
                <a:gd name="connsiteY17" fmla="*/ 23146 h 217551"/>
                <a:gd name="connsiteX18" fmla="*/ 118205 w 133731"/>
                <a:gd name="connsiteY18" fmla="*/ 60770 h 217551"/>
                <a:gd name="connsiteX19" fmla="*/ 102013 w 133731"/>
                <a:gd name="connsiteY19" fmla="*/ 99441 h 217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33731" h="217551">
                  <a:moveTo>
                    <a:pt x="128207" y="32385"/>
                  </a:moveTo>
                  <a:cubicBezTo>
                    <a:pt x="124587" y="24670"/>
                    <a:pt x="119444" y="18383"/>
                    <a:pt x="112681" y="13526"/>
                  </a:cubicBezTo>
                  <a:cubicBezTo>
                    <a:pt x="105918" y="8668"/>
                    <a:pt x="97727" y="5239"/>
                    <a:pt x="87916" y="3143"/>
                  </a:cubicBezTo>
                  <a:cubicBezTo>
                    <a:pt x="78105" y="1048"/>
                    <a:pt x="67056" y="0"/>
                    <a:pt x="54769" y="0"/>
                  </a:cubicBezTo>
                  <a:lnTo>
                    <a:pt x="0" y="0"/>
                  </a:lnTo>
                  <a:lnTo>
                    <a:pt x="0" y="217551"/>
                  </a:lnTo>
                  <a:lnTo>
                    <a:pt x="15145" y="217551"/>
                  </a:lnTo>
                  <a:lnTo>
                    <a:pt x="15145" y="124111"/>
                  </a:lnTo>
                  <a:lnTo>
                    <a:pt x="56102" y="124111"/>
                  </a:lnTo>
                  <a:cubicBezTo>
                    <a:pt x="80486" y="124111"/>
                    <a:pt x="99536" y="118872"/>
                    <a:pt x="113252" y="108395"/>
                  </a:cubicBezTo>
                  <a:cubicBezTo>
                    <a:pt x="126873" y="97917"/>
                    <a:pt x="133731" y="82010"/>
                    <a:pt x="133731" y="60674"/>
                  </a:cubicBezTo>
                  <a:cubicBezTo>
                    <a:pt x="133636" y="49530"/>
                    <a:pt x="131826" y="40100"/>
                    <a:pt x="128207" y="32385"/>
                  </a:cubicBezTo>
                  <a:close/>
                  <a:moveTo>
                    <a:pt x="102013" y="99441"/>
                  </a:moveTo>
                  <a:cubicBezTo>
                    <a:pt x="91250" y="107347"/>
                    <a:pt x="74676" y="111347"/>
                    <a:pt x="52483" y="111347"/>
                  </a:cubicBezTo>
                  <a:lnTo>
                    <a:pt x="15145" y="111347"/>
                  </a:lnTo>
                  <a:lnTo>
                    <a:pt x="15145" y="12954"/>
                  </a:lnTo>
                  <a:lnTo>
                    <a:pt x="51149" y="12954"/>
                  </a:lnTo>
                  <a:cubicBezTo>
                    <a:pt x="73628" y="12954"/>
                    <a:pt x="90392" y="16383"/>
                    <a:pt x="101537" y="23146"/>
                  </a:cubicBezTo>
                  <a:cubicBezTo>
                    <a:pt x="112681" y="30004"/>
                    <a:pt x="118205" y="42482"/>
                    <a:pt x="118205" y="60770"/>
                  </a:cubicBezTo>
                  <a:cubicBezTo>
                    <a:pt x="118110" y="78581"/>
                    <a:pt x="112776" y="91535"/>
                    <a:pt x="102013" y="9944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724628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1026DF7-06A6-4FD9-95DD-F7E3949CF0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3628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1026DF7-06A6-4FD9-95DD-F7E3949CF0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7EBF60D-8DD4-41B2-A211-ECE8A85645B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>
              <a:latin typeface="Source Sans Pro" panose="020B0503030403020204" pitchFamily="34" charset="0"/>
              <a:ea typeface="+mj-ea"/>
              <a:cs typeface="+mj-cs"/>
              <a:sym typeface="Source Sans Pro" panose="020B0503030403020204" pitchFamily="34" charset="0"/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en-US" smtClean="0"/>
              <a:t>‹N›</a:t>
            </a:fld>
            <a:endParaRPr lang="en-US"/>
          </a:p>
        </p:txBody>
      </p:sp>
      <p:sp>
        <p:nvSpPr>
          <p:cNvPr id="7" name="Tekstvak 6"/>
          <p:cNvSpPr txBox="1"/>
          <p:nvPr userDrawn="1"/>
        </p:nvSpPr>
        <p:spPr>
          <a:xfrm>
            <a:off x="-10750" y="-662296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914400" rtl="0" eaLnBrk="1" latinLnBrk="0" hangingPunct="1"/>
            <a:r>
              <a:rPr lang="en-US" sz="2400" b="0" kern="1200" spc="50" baseline="0">
                <a:solidFill>
                  <a:schemeClr val="accent2"/>
                </a:solidFill>
                <a:latin typeface="+mj-lt"/>
                <a:ea typeface="+mn-ea"/>
                <a:cs typeface="Calibri" panose="020F0502020204030204" pitchFamily="34" charset="0"/>
              </a:rPr>
              <a:t>2x graph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4630D5FB-1314-4998-8D21-8C1FE5889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77281" y="607965"/>
            <a:ext cx="10653440" cy="384511"/>
          </a:xfrm>
        </p:spPr>
        <p:txBody>
          <a:bodyPr lIns="0" tIns="0" bIns="0"/>
          <a:lstStyle>
            <a:lvl1pPr>
              <a:defRPr/>
            </a:lvl1pPr>
          </a:lstStyle>
          <a:p>
            <a:r>
              <a:rPr lang="en-US" noProof="0"/>
              <a:t>Add a slide title</a:t>
            </a:r>
          </a:p>
        </p:txBody>
      </p:sp>
      <p:sp>
        <p:nvSpPr>
          <p:cNvPr id="14" name="Tijdelijke aanduiding voor verticale tekst 2">
            <a:extLst>
              <a:ext uri="{FF2B5EF4-FFF2-40B4-BE49-F238E27FC236}">
                <a16:creationId xmlns:a16="http://schemas.microsoft.com/office/drawing/2014/main" id="{3ECB7CD6-D94B-4C22-8005-989A2C87AAE8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977238" y="992477"/>
            <a:ext cx="10651889" cy="384511"/>
          </a:xfrm>
        </p:spPr>
        <p:txBody>
          <a:bodyPr vert="horz" lIns="0" tIns="0" bIns="0" anchor="t"/>
          <a:lstStyle>
            <a:lvl1pPr marL="0" indent="0">
              <a:buNone/>
              <a:defRPr sz="3000">
                <a:solidFill>
                  <a:schemeClr val="accent2"/>
                </a:solidFill>
              </a:defRPr>
            </a:lvl1pPr>
            <a:lvl2pPr marL="217488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15" name="Tijdelijke aanduiding voor grafiek 12">
            <a:extLst>
              <a:ext uri="{FF2B5EF4-FFF2-40B4-BE49-F238E27FC236}">
                <a16:creationId xmlns:a16="http://schemas.microsoft.com/office/drawing/2014/main" id="{046E6DE7-06B8-44AD-B57D-82BA317666B2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20678" y="1590676"/>
            <a:ext cx="5208448" cy="4005157"/>
          </a:xfrm>
          <a:prstGeom prst="rect">
            <a:avLst/>
          </a:prstGeom>
          <a:noFill/>
          <a:ln>
            <a:noFill/>
          </a:ln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he icon below </a:t>
            </a:r>
            <a:br>
              <a:rPr lang="en-US"/>
            </a:br>
            <a:r>
              <a:rPr lang="en-US"/>
              <a:t>to add a graph.</a:t>
            </a:r>
            <a:br>
              <a:rPr lang="en-US"/>
            </a:br>
            <a:br>
              <a:rPr lang="en-US"/>
            </a:br>
            <a:r>
              <a:rPr lang="en-US"/>
              <a:t>Need additional help?</a:t>
            </a:r>
            <a:br>
              <a:rPr lang="en-US"/>
            </a:br>
            <a:r>
              <a:rPr lang="en-US"/>
              <a:t>To the side of the slides we’ve placed extra</a:t>
            </a:r>
            <a:br>
              <a:rPr lang="en-US"/>
            </a:br>
            <a:r>
              <a:rPr lang="en-US"/>
              <a:t> instructions how to process content. </a:t>
            </a:r>
          </a:p>
        </p:txBody>
      </p:sp>
      <p:sp>
        <p:nvSpPr>
          <p:cNvPr id="18" name="Tijdelijke aanduiding voor grafiek 12">
            <a:extLst>
              <a:ext uri="{FF2B5EF4-FFF2-40B4-BE49-F238E27FC236}">
                <a16:creationId xmlns:a16="http://schemas.microsoft.com/office/drawing/2014/main" id="{5D7DE72F-355A-4BBE-AE57-9EF6AFD35BD8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977238" y="1590676"/>
            <a:ext cx="5208448" cy="4005157"/>
          </a:xfrm>
          <a:prstGeom prst="rect">
            <a:avLst/>
          </a:prstGeom>
          <a:noFill/>
          <a:ln>
            <a:noFill/>
          </a:ln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he icon below </a:t>
            </a:r>
            <a:br>
              <a:rPr lang="en-US"/>
            </a:br>
            <a:r>
              <a:rPr lang="en-US"/>
              <a:t>to add a graph.</a:t>
            </a:r>
            <a:br>
              <a:rPr lang="en-US"/>
            </a:br>
            <a:br>
              <a:rPr lang="en-US"/>
            </a:br>
            <a:r>
              <a:rPr lang="en-US"/>
              <a:t>Need additional help?</a:t>
            </a:r>
            <a:br>
              <a:rPr lang="en-US"/>
            </a:br>
            <a:r>
              <a:rPr lang="en-US"/>
              <a:t>To the side of the slides we’ve placed extra</a:t>
            </a:r>
            <a:br>
              <a:rPr lang="en-US"/>
            </a:br>
            <a:r>
              <a:rPr lang="en-US"/>
              <a:t> instructions how to process content. </a:t>
            </a:r>
          </a:p>
        </p:txBody>
      </p:sp>
    </p:spTree>
    <p:extLst>
      <p:ext uri="{BB962C8B-B14F-4D97-AF65-F5344CB8AC3E}">
        <p14:creationId xmlns:p14="http://schemas.microsoft.com/office/powerpoint/2010/main" val="3509175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1E838B9-9BF8-4F68-8FC0-5FEB088CF8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0052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1E838B9-9BF8-4F68-8FC0-5FEB088CF8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4C054A36-D36D-4B63-ACAE-1D4A76E9533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>
              <a:latin typeface="Source Sans Pro" panose="020B0503030403020204" pitchFamily="34" charset="0"/>
              <a:ea typeface="+mj-ea"/>
              <a:cs typeface="+mj-cs"/>
              <a:sym typeface="Source Sans Pro" panose="020B0503030403020204" pitchFamily="34" charset="0"/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en-US" smtClean="0"/>
              <a:t>‹N›</a:t>
            </a:fld>
            <a:endParaRPr lang="en-US"/>
          </a:p>
        </p:txBody>
      </p:sp>
      <p:sp>
        <p:nvSpPr>
          <p:cNvPr id="7" name="Tekstvak 6"/>
          <p:cNvSpPr txBox="1"/>
          <p:nvPr userDrawn="1"/>
        </p:nvSpPr>
        <p:spPr>
          <a:xfrm>
            <a:off x="-10750" y="-662296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914400" rtl="0" eaLnBrk="1" latinLnBrk="0" hangingPunct="1"/>
            <a:r>
              <a:rPr lang="en-US" sz="2400" b="0" kern="1200" spc="50" baseline="0">
                <a:solidFill>
                  <a:schemeClr val="accent2"/>
                </a:solidFill>
                <a:latin typeface="+mj-lt"/>
                <a:ea typeface="+mn-ea"/>
                <a:cs typeface="Calibri" panose="020F0502020204030204" pitchFamily="34" charset="0"/>
              </a:rPr>
              <a:t>Graph S</a:t>
            </a:r>
          </a:p>
        </p:txBody>
      </p:sp>
      <p:sp>
        <p:nvSpPr>
          <p:cNvPr id="10" name="Tijdelijke aanduiding voor grafiek 12">
            <a:extLst>
              <a:ext uri="{FF2B5EF4-FFF2-40B4-BE49-F238E27FC236}">
                <a16:creationId xmlns:a16="http://schemas.microsoft.com/office/drawing/2014/main" id="{63A6E34E-0BC1-419F-A30B-067298ED1587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2817640" y="1909709"/>
            <a:ext cx="6915634" cy="3686124"/>
          </a:xfrm>
          <a:prstGeom prst="rect">
            <a:avLst/>
          </a:prstGeom>
          <a:noFill/>
          <a:ln>
            <a:noFill/>
          </a:ln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he icon below </a:t>
            </a:r>
            <a:br>
              <a:rPr lang="en-US"/>
            </a:br>
            <a:r>
              <a:rPr lang="en-US"/>
              <a:t>to add a graph.</a:t>
            </a:r>
            <a:br>
              <a:rPr lang="en-US"/>
            </a:br>
            <a:br>
              <a:rPr lang="en-US"/>
            </a:br>
            <a:r>
              <a:rPr lang="en-US"/>
              <a:t>Need additional help?</a:t>
            </a:r>
            <a:br>
              <a:rPr lang="en-US"/>
            </a:br>
            <a:r>
              <a:rPr lang="en-US"/>
              <a:t>To the side of the slides we’ve placed extra</a:t>
            </a:r>
            <a:br>
              <a:rPr lang="en-US"/>
            </a:br>
            <a:r>
              <a:rPr lang="en-US"/>
              <a:t> instructions how to process content. 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1E75875F-59FA-47B5-9E46-FE62D2FD78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77281" y="607965"/>
            <a:ext cx="10653440" cy="384511"/>
          </a:xfrm>
        </p:spPr>
        <p:txBody>
          <a:bodyPr lIns="0" tIns="0" bIns="0"/>
          <a:lstStyle>
            <a:lvl1pPr>
              <a:defRPr/>
            </a:lvl1pPr>
          </a:lstStyle>
          <a:p>
            <a:r>
              <a:rPr lang="en-US" noProof="0"/>
              <a:t>Add a slide title</a:t>
            </a:r>
          </a:p>
        </p:txBody>
      </p:sp>
      <p:sp>
        <p:nvSpPr>
          <p:cNvPr id="11" name="Tijdelijke aanduiding voor verticale tekst 2">
            <a:extLst>
              <a:ext uri="{FF2B5EF4-FFF2-40B4-BE49-F238E27FC236}">
                <a16:creationId xmlns:a16="http://schemas.microsoft.com/office/drawing/2014/main" id="{04E7CC5A-D2AE-4FF9-9CA4-0EC8FBFCC246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977238" y="992477"/>
            <a:ext cx="10651889" cy="384511"/>
          </a:xfrm>
        </p:spPr>
        <p:txBody>
          <a:bodyPr vert="horz" lIns="0" tIns="0" bIns="0" anchor="t"/>
          <a:lstStyle>
            <a:lvl1pPr marL="0" indent="0">
              <a:buNone/>
              <a:defRPr sz="3000">
                <a:solidFill>
                  <a:schemeClr val="accent2"/>
                </a:solidFill>
              </a:defRPr>
            </a:lvl1pPr>
            <a:lvl2pPr marL="217488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19565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lines + fixed imag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Tijdelijke aanduiding voor afbeelding 19">
            <a:extLst>
              <a:ext uri="{FF2B5EF4-FFF2-40B4-BE49-F238E27FC236}">
                <a16:creationId xmlns:a16="http://schemas.microsoft.com/office/drawing/2014/main" id="{DC5BAAD9-BE87-4879-886D-2509EB45A64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4821" y="1434"/>
            <a:ext cx="12201641" cy="6856567"/>
          </a:xfrm>
          <a:prstGeom prst="rect">
            <a:avLst/>
          </a:prstGeom>
        </p:spPr>
      </p:pic>
      <p:sp>
        <p:nvSpPr>
          <p:cNvPr id="22" name="Tijdelijke aanduiding voor tekst 21">
            <a:extLst>
              <a:ext uri="{FF2B5EF4-FFF2-40B4-BE49-F238E27FC236}">
                <a16:creationId xmlns:a16="http://schemas.microsoft.com/office/drawing/2014/main" id="{002D0498-94A0-40FD-B973-91622C2A79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11113" y="-1"/>
            <a:ext cx="7289277" cy="4827069"/>
          </a:xfrm>
          <a:custGeom>
            <a:avLst/>
            <a:gdLst>
              <a:gd name="connsiteX0" fmla="*/ 0 w 7289277"/>
              <a:gd name="connsiteY0" fmla="*/ 0 h 4827069"/>
              <a:gd name="connsiteX1" fmla="*/ 6313176 w 7289277"/>
              <a:gd name="connsiteY1" fmla="*/ 0 h 4827069"/>
              <a:gd name="connsiteX2" fmla="*/ 6420957 w 7289277"/>
              <a:gd name="connsiteY2" fmla="*/ 202272 h 4827069"/>
              <a:gd name="connsiteX3" fmla="*/ 7221911 w 7289277"/>
              <a:gd name="connsiteY3" fmla="*/ 2391463 h 4827069"/>
              <a:gd name="connsiteX4" fmla="*/ 7283962 w 7289277"/>
              <a:gd name="connsiteY4" fmla="*/ 2668064 h 4827069"/>
              <a:gd name="connsiteX5" fmla="*/ 7123985 w 7289277"/>
              <a:gd name="connsiteY5" fmla="*/ 2926435 h 4827069"/>
              <a:gd name="connsiteX6" fmla="*/ 6852583 w 7289277"/>
              <a:gd name="connsiteY6" fmla="*/ 2993100 h 4827069"/>
              <a:gd name="connsiteX7" fmla="*/ 0 w 7289277"/>
              <a:gd name="connsiteY7" fmla="*/ 4827069 h 48270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89277" h="4827069">
                <a:moveTo>
                  <a:pt x="0" y="0"/>
                </a:moveTo>
                <a:lnTo>
                  <a:pt x="6313176" y="0"/>
                </a:lnTo>
                <a:lnTo>
                  <a:pt x="6420957" y="202272"/>
                </a:lnTo>
                <a:cubicBezTo>
                  <a:pt x="6790939" y="925501"/>
                  <a:pt x="7057384" y="1656342"/>
                  <a:pt x="7221911" y="2391463"/>
                </a:cubicBezTo>
                <a:lnTo>
                  <a:pt x="7283962" y="2668064"/>
                </a:lnTo>
                <a:cubicBezTo>
                  <a:pt x="7309846" y="2783440"/>
                  <a:pt x="7238751" y="2898232"/>
                  <a:pt x="7123985" y="2926435"/>
                </a:cubicBezTo>
                <a:lnTo>
                  <a:pt x="6852583" y="2993100"/>
                </a:lnTo>
                <a:lnTo>
                  <a:pt x="0" y="482706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5" name="Titel 5">
            <a:extLst>
              <a:ext uri="{FF2B5EF4-FFF2-40B4-BE49-F238E27FC236}">
                <a16:creationId xmlns:a16="http://schemas.microsoft.com/office/drawing/2014/main" id="{20DBEB7A-7FB1-4F46-90EC-A1F387B9FD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9517" y="1298686"/>
            <a:ext cx="5651923" cy="1141855"/>
          </a:xfrm>
        </p:spPr>
        <p:txBody>
          <a:bodyPr/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GB" noProof="0"/>
              <a:t>Template for  a long title</a:t>
            </a:r>
            <a:br>
              <a:rPr lang="en-GB" noProof="0"/>
            </a:br>
            <a:r>
              <a:rPr lang="en-GB" noProof="0"/>
              <a:t>over two lines</a:t>
            </a:r>
            <a:endParaRPr lang="en-GB"/>
          </a:p>
        </p:txBody>
      </p:sp>
      <p:sp>
        <p:nvSpPr>
          <p:cNvPr id="77" name="Tijdelijke aanduiding voor tekst 19">
            <a:extLst>
              <a:ext uri="{FF2B5EF4-FFF2-40B4-BE49-F238E27FC236}">
                <a16:creationId xmlns:a16="http://schemas.microsoft.com/office/drawing/2014/main" id="{3C679BF6-C6F0-4DA8-9300-B2D0B37F8B8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1339" y="899559"/>
            <a:ext cx="1369048" cy="122301"/>
          </a:xfrm>
          <a:prstGeom prst="rect">
            <a:avLst/>
          </a:prstGeom>
          <a:blipFill>
            <a:blip r:embed="rId3"/>
            <a:srcRect/>
            <a:stretch>
              <a:fillRect t="10141" b="7644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79" name="Tijdelijke aanduiding voor dianummer 4">
            <a:extLst>
              <a:ext uri="{FF2B5EF4-FFF2-40B4-BE49-F238E27FC236}">
                <a16:creationId xmlns:a16="http://schemas.microsoft.com/office/drawing/2014/main" id="{FBD12061-66F1-4151-BB1A-84383B2220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681" y="6274118"/>
            <a:ext cx="44204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80" name="Tijdelijke aanduiding voor verticale tekst 2">
            <a:extLst>
              <a:ext uri="{FF2B5EF4-FFF2-40B4-BE49-F238E27FC236}">
                <a16:creationId xmlns:a16="http://schemas.microsoft.com/office/drawing/2014/main" id="{A7E452E3-0FFE-404B-881B-C0B4BF4F4F2C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899789" y="2612275"/>
            <a:ext cx="5661651" cy="267480"/>
          </a:xfrm>
        </p:spPr>
        <p:txBody>
          <a:bodyPr vert="horz" lIns="0" tIns="0" rIns="0" bIns="0"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  <a:lvl2pPr marL="217483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 algn="l"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Name | function</a:t>
            </a:r>
          </a:p>
        </p:txBody>
      </p:sp>
      <p:sp>
        <p:nvSpPr>
          <p:cNvPr id="81" name="Tijdelijke aanduiding voor verticale tekst 2">
            <a:extLst>
              <a:ext uri="{FF2B5EF4-FFF2-40B4-BE49-F238E27FC236}">
                <a16:creationId xmlns:a16="http://schemas.microsoft.com/office/drawing/2014/main" id="{38EF40A0-E8AB-4B23-B981-1B36844DFE8A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899788" y="3038892"/>
            <a:ext cx="1694000" cy="183397"/>
          </a:xfrm>
        </p:spPr>
        <p:txBody>
          <a:bodyPr vert="horz" lIns="0" tIns="0" rIns="0" bIns="0" anchor="ctr"/>
          <a:lstStyle>
            <a:lvl1pPr marL="0" indent="0">
              <a:buNone/>
              <a:defRPr sz="1100">
                <a:solidFill>
                  <a:schemeClr val="accent2"/>
                </a:solidFill>
              </a:defRPr>
            </a:lvl1pPr>
            <a:lvl2pPr marL="217483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Location</a:t>
            </a:r>
          </a:p>
        </p:txBody>
      </p:sp>
      <p:sp>
        <p:nvSpPr>
          <p:cNvPr id="82" name="Tijdelijke aanduiding voor verticale tekst 2">
            <a:extLst>
              <a:ext uri="{FF2B5EF4-FFF2-40B4-BE49-F238E27FC236}">
                <a16:creationId xmlns:a16="http://schemas.microsoft.com/office/drawing/2014/main" id="{0D5393FF-70CD-4386-9CEC-BC97FDEDEC74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99788" y="3233487"/>
            <a:ext cx="1694000" cy="183397"/>
          </a:xfrm>
        </p:spPr>
        <p:txBody>
          <a:bodyPr vert="horz" lIns="0" tIns="0" rIns="0" bIns="0" anchor="ctr"/>
          <a:lstStyle>
            <a:lvl1pPr marL="0" marR="0" indent="0" algn="l" defTabSz="71912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  <a:tabLst/>
              <a:defRPr sz="1100">
                <a:solidFill>
                  <a:schemeClr val="accent2"/>
                </a:solidFill>
              </a:defRPr>
            </a:lvl1pPr>
            <a:lvl2pPr marL="217483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marL="0" marR="0" lvl="0" indent="0" algn="l" defTabSz="71912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  <a:tabLst/>
              <a:defRPr/>
            </a:pPr>
            <a:r>
              <a:rPr lang="en-GB" noProof="0"/>
              <a:t>Date</a:t>
            </a:r>
          </a:p>
          <a:p>
            <a:pPr lvl="0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501073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F605DEF-FBA5-4641-BF25-4868AD4C74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7370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F605DEF-FBA5-4641-BF25-4868AD4C74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ADEA159C-3646-4176-908C-6BED2F9FD0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>
              <a:latin typeface="Source Sans Pro" panose="020B0503030403020204" pitchFamily="34" charset="0"/>
              <a:ea typeface="+mj-ea"/>
              <a:cs typeface="+mj-cs"/>
              <a:sym typeface="Source Sans Pro" panose="020B0503030403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anchor="t"/>
          <a:lstStyle>
            <a:lvl1pPr>
              <a:defRPr/>
            </a:lvl1pPr>
          </a:lstStyle>
          <a:p>
            <a:r>
              <a:rPr lang="en-US" noProof="0"/>
              <a:t>Add a slide title</a:t>
            </a:r>
            <a:endParaRPr 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02C9A5-716F-45E6-800B-D4D02CE26F90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6" name="Tekstvak 5"/>
          <p:cNvSpPr txBox="1"/>
          <p:nvPr userDrawn="1"/>
        </p:nvSpPr>
        <p:spPr>
          <a:xfrm>
            <a:off x="-10750" y="-662296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914400" rtl="0" eaLnBrk="1" latinLnBrk="0" hangingPunct="1"/>
            <a:r>
              <a:rPr lang="en-US" sz="2400" b="0" kern="1200" spc="50" baseline="0">
                <a:solidFill>
                  <a:schemeClr val="accent2"/>
                </a:solidFill>
                <a:latin typeface="+mj-lt"/>
                <a:ea typeface="+mn-ea"/>
                <a:cs typeface="Calibri" panose="020F0502020204030204" pitchFamily="34" charset="0"/>
              </a:rPr>
              <a:t>Logos</a:t>
            </a:r>
          </a:p>
        </p:txBody>
      </p:sp>
      <p:sp>
        <p:nvSpPr>
          <p:cNvPr id="22" name="Tijdelijke aanduiding voor afbeelding 40"/>
          <p:cNvSpPr>
            <a:spLocks noGrp="1"/>
          </p:cNvSpPr>
          <p:nvPr userDrawn="1">
            <p:ph type="pic" sz="quarter" idx="14" hasCustomPrompt="1"/>
          </p:nvPr>
        </p:nvSpPr>
        <p:spPr>
          <a:xfrm>
            <a:off x="2487347" y="2675024"/>
            <a:ext cx="2399580" cy="665090"/>
          </a:xfrm>
          <a:ln>
            <a:noFill/>
          </a:ln>
        </p:spPr>
        <p:txBody>
          <a:bodyPr bIns="432000" anchor="ctr"/>
          <a:lstStyle>
            <a:lvl1pPr marL="0" indent="0" algn="ctr">
              <a:lnSpc>
                <a:spcPct val="75000"/>
              </a:lnSpc>
              <a:spcBef>
                <a:spcPts val="100"/>
              </a:spcBef>
              <a:spcAft>
                <a:spcPts val="100"/>
              </a:spcAft>
              <a:buNone/>
              <a:defRPr sz="900" i="1"/>
            </a:lvl1pPr>
          </a:lstStyle>
          <a:p>
            <a:r>
              <a:rPr lang="en-US"/>
              <a:t>Click the icon below to </a:t>
            </a:r>
            <a:br>
              <a:rPr lang="en-US"/>
            </a:br>
            <a:r>
              <a:rPr lang="en-US"/>
              <a:t>add a client logo</a:t>
            </a:r>
          </a:p>
        </p:txBody>
      </p:sp>
      <p:sp>
        <p:nvSpPr>
          <p:cNvPr id="36" name="Tijdelijke aanduiding voor afbeelding 40">
            <a:extLst>
              <a:ext uri="{FF2B5EF4-FFF2-40B4-BE49-F238E27FC236}">
                <a16:creationId xmlns:a16="http://schemas.microsoft.com/office/drawing/2014/main" id="{452FBF76-761C-4ABC-84FA-DE4DCF9A20F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230547" y="2675024"/>
            <a:ext cx="2399580" cy="665090"/>
          </a:xfrm>
          <a:ln>
            <a:noFill/>
          </a:ln>
        </p:spPr>
        <p:txBody>
          <a:bodyPr bIns="432000" anchor="ctr"/>
          <a:lstStyle>
            <a:lvl1pPr marL="0" indent="0" algn="ctr">
              <a:lnSpc>
                <a:spcPct val="75000"/>
              </a:lnSpc>
              <a:spcBef>
                <a:spcPts val="100"/>
              </a:spcBef>
              <a:spcAft>
                <a:spcPts val="100"/>
              </a:spcAft>
              <a:buNone/>
              <a:defRPr sz="900" i="1"/>
            </a:lvl1pPr>
          </a:lstStyle>
          <a:p>
            <a:r>
              <a:rPr lang="en-US"/>
              <a:t>Click the icon below to </a:t>
            </a:r>
            <a:br>
              <a:rPr lang="en-US"/>
            </a:br>
            <a:r>
              <a:rPr lang="en-US"/>
              <a:t>add a client logo</a:t>
            </a:r>
          </a:p>
        </p:txBody>
      </p:sp>
      <p:sp>
        <p:nvSpPr>
          <p:cNvPr id="37" name="Tijdelijke aanduiding voor afbeelding 40">
            <a:extLst>
              <a:ext uri="{FF2B5EF4-FFF2-40B4-BE49-F238E27FC236}">
                <a16:creationId xmlns:a16="http://schemas.microsoft.com/office/drawing/2014/main" id="{95DBB4DA-325F-4927-BA3F-0FC7816C685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73747" y="2675024"/>
            <a:ext cx="2399580" cy="665090"/>
          </a:xfrm>
          <a:ln>
            <a:noFill/>
          </a:ln>
        </p:spPr>
        <p:txBody>
          <a:bodyPr bIns="432000" anchor="ctr"/>
          <a:lstStyle>
            <a:lvl1pPr marL="0" indent="0" algn="ctr">
              <a:lnSpc>
                <a:spcPct val="75000"/>
              </a:lnSpc>
              <a:spcBef>
                <a:spcPts val="100"/>
              </a:spcBef>
              <a:spcAft>
                <a:spcPts val="100"/>
              </a:spcAft>
              <a:buNone/>
              <a:defRPr sz="900" i="1"/>
            </a:lvl1pPr>
          </a:lstStyle>
          <a:p>
            <a:r>
              <a:rPr lang="en-US"/>
              <a:t>Click the icon below to </a:t>
            </a:r>
            <a:br>
              <a:rPr lang="en-US"/>
            </a:br>
            <a:r>
              <a:rPr lang="en-US"/>
              <a:t>add a client logo</a:t>
            </a:r>
          </a:p>
        </p:txBody>
      </p:sp>
      <p:sp>
        <p:nvSpPr>
          <p:cNvPr id="38" name="Tijdelijke aanduiding voor afbeelding 40">
            <a:extLst>
              <a:ext uri="{FF2B5EF4-FFF2-40B4-BE49-F238E27FC236}">
                <a16:creationId xmlns:a16="http://schemas.microsoft.com/office/drawing/2014/main" id="{36862504-520B-4A2D-8BE0-1AF7D1968B7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487347" y="3565512"/>
            <a:ext cx="2399580" cy="665090"/>
          </a:xfrm>
          <a:ln>
            <a:noFill/>
          </a:ln>
        </p:spPr>
        <p:txBody>
          <a:bodyPr bIns="432000" anchor="ctr"/>
          <a:lstStyle>
            <a:lvl1pPr marL="0" indent="0" algn="ctr">
              <a:lnSpc>
                <a:spcPct val="75000"/>
              </a:lnSpc>
              <a:spcBef>
                <a:spcPts val="100"/>
              </a:spcBef>
              <a:spcAft>
                <a:spcPts val="100"/>
              </a:spcAft>
              <a:buNone/>
              <a:defRPr sz="900" i="1"/>
            </a:lvl1pPr>
          </a:lstStyle>
          <a:p>
            <a:r>
              <a:rPr lang="en-US"/>
              <a:t>Click the icon below to </a:t>
            </a:r>
            <a:br>
              <a:rPr lang="en-US"/>
            </a:br>
            <a:r>
              <a:rPr lang="en-US"/>
              <a:t>add a client logo</a:t>
            </a:r>
          </a:p>
        </p:txBody>
      </p:sp>
      <p:sp>
        <p:nvSpPr>
          <p:cNvPr id="39" name="Tijdelijke aanduiding voor afbeelding 40">
            <a:extLst>
              <a:ext uri="{FF2B5EF4-FFF2-40B4-BE49-F238E27FC236}">
                <a16:creationId xmlns:a16="http://schemas.microsoft.com/office/drawing/2014/main" id="{16CC4183-ADE5-4966-BCD0-EDA1FDBB69D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230547" y="3565512"/>
            <a:ext cx="2399580" cy="665090"/>
          </a:xfrm>
          <a:ln>
            <a:noFill/>
          </a:ln>
        </p:spPr>
        <p:txBody>
          <a:bodyPr bIns="432000" anchor="ctr"/>
          <a:lstStyle>
            <a:lvl1pPr marL="0" indent="0" algn="ctr">
              <a:lnSpc>
                <a:spcPct val="75000"/>
              </a:lnSpc>
              <a:spcBef>
                <a:spcPts val="100"/>
              </a:spcBef>
              <a:spcAft>
                <a:spcPts val="100"/>
              </a:spcAft>
              <a:buNone/>
              <a:defRPr sz="900" i="1"/>
            </a:lvl1pPr>
          </a:lstStyle>
          <a:p>
            <a:r>
              <a:rPr lang="en-US"/>
              <a:t>Click the icon below to </a:t>
            </a:r>
            <a:br>
              <a:rPr lang="en-US"/>
            </a:br>
            <a:r>
              <a:rPr lang="en-US"/>
              <a:t>add a client logo</a:t>
            </a:r>
          </a:p>
        </p:txBody>
      </p:sp>
      <p:sp>
        <p:nvSpPr>
          <p:cNvPr id="40" name="Tijdelijke aanduiding voor afbeelding 40">
            <a:extLst>
              <a:ext uri="{FF2B5EF4-FFF2-40B4-BE49-F238E27FC236}">
                <a16:creationId xmlns:a16="http://schemas.microsoft.com/office/drawing/2014/main" id="{1F30C0A2-20FA-41FC-8FD2-054E4714B1B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973747" y="3565512"/>
            <a:ext cx="2399580" cy="665090"/>
          </a:xfrm>
          <a:ln>
            <a:noFill/>
          </a:ln>
        </p:spPr>
        <p:txBody>
          <a:bodyPr bIns="432000" anchor="ctr"/>
          <a:lstStyle>
            <a:lvl1pPr marL="0" indent="0" algn="ctr">
              <a:lnSpc>
                <a:spcPct val="75000"/>
              </a:lnSpc>
              <a:spcBef>
                <a:spcPts val="100"/>
              </a:spcBef>
              <a:spcAft>
                <a:spcPts val="100"/>
              </a:spcAft>
              <a:buNone/>
              <a:defRPr sz="900" i="1"/>
            </a:lvl1pPr>
          </a:lstStyle>
          <a:p>
            <a:r>
              <a:rPr lang="en-US"/>
              <a:t>Click the icon below to </a:t>
            </a:r>
            <a:br>
              <a:rPr lang="en-US"/>
            </a:br>
            <a:r>
              <a:rPr lang="en-US"/>
              <a:t>add a client logo</a:t>
            </a:r>
          </a:p>
        </p:txBody>
      </p:sp>
      <p:sp>
        <p:nvSpPr>
          <p:cNvPr id="13" name="Tijdelijke aanduiding voor verticale tekst 2">
            <a:extLst>
              <a:ext uri="{FF2B5EF4-FFF2-40B4-BE49-F238E27FC236}">
                <a16:creationId xmlns:a16="http://schemas.microsoft.com/office/drawing/2014/main" id="{BC28655D-E6D9-438F-AA95-037E35EFA0A3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977238" y="992477"/>
            <a:ext cx="10651889" cy="384511"/>
          </a:xfrm>
        </p:spPr>
        <p:txBody>
          <a:bodyPr vert="horz" lIns="0" tIns="0" bIns="0" anchor="t"/>
          <a:lstStyle>
            <a:lvl1pPr marL="0" indent="0">
              <a:buNone/>
              <a:defRPr sz="3000">
                <a:solidFill>
                  <a:schemeClr val="accent2"/>
                </a:solidFill>
              </a:defRPr>
            </a:lvl1pPr>
            <a:lvl2pPr marL="217488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84052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accel="50000" decel="50000" autoRev="1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22"/>
                                        </p:tgtEl>
                                      </p:cBhvr>
                                      <p:by x="102500" y="1025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53" presetClass="entr" presetSubtype="16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mph" presetSubtype="0" accel="50000" decel="50000" autoRev="1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18" dur="500" fill="hold"/>
                                        <p:tgtEl>
                                          <p:spTgt spid="36"/>
                                        </p:tgtEl>
                                      </p:cBhvr>
                                      <p:by x="102500" y="1025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53" presetClass="entr" presetSubtype="16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mph" presetSubtype="0" accel="50000" decel="50000" autoRev="1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25" dur="500" fill="hold"/>
                                        <p:tgtEl>
                                          <p:spTgt spid="37"/>
                                        </p:tgtEl>
                                      </p:cBhvr>
                                      <p:by x="102500" y="102500"/>
                                    </p:animScale>
                                  </p:childTnLst>
                                </p:cTn>
                              </p:par>
                              <p:par>
                                <p:cTn id="26" presetID="53" presetClass="entr" presetSubtype="16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6" presetClass="emph" presetSubtype="0" accel="50000" decel="50000" autoRev="1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32" dur="500" fill="hold"/>
                                        <p:tgtEl>
                                          <p:spTgt spid="38"/>
                                        </p:tgtEl>
                                      </p:cBhvr>
                                      <p:by x="102500" y="1025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6" presetClass="emph" presetSubtype="0" accel="50000" decel="50000" autoRev="1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39" dur="500" fill="hold"/>
                                        <p:tgtEl>
                                          <p:spTgt spid="39"/>
                                        </p:tgtEl>
                                      </p:cBhvr>
                                      <p:by x="102500" y="102500"/>
                                    </p:animScale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6" presetClass="emph" presetSubtype="0" accel="50000" decel="50000" autoRev="1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46" dur="500" fill="hold"/>
                                        <p:tgtEl>
                                          <p:spTgt spid="40"/>
                                        </p:tgtEl>
                                      </p:cBhvr>
                                      <p:by x="102500" y="1025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  <p:bldP spid="22" grpId="1"/>
      <p:bldP spid="36" grpId="0"/>
      <p:bldP spid="36" grpId="1"/>
      <p:bldP spid="37" grpId="0"/>
      <p:bldP spid="37" grpId="1"/>
      <p:bldP spid="38" grpId="0"/>
      <p:bldP spid="38" grpId="1"/>
      <p:bldP spid="39" grpId="0"/>
      <p:bldP spid="39" grpId="1"/>
      <p:bldP spid="40" grpId="0"/>
      <p:bldP spid="40" grpId="1"/>
    </p:bld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BD81935-69CA-4872-8811-D3D8993FFB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6356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BD81935-69CA-4872-8811-D3D8993FFB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9B95F998-F3E7-4A39-89D6-200AE215359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>
              <a:latin typeface="Source Sans Pro" panose="020B0503030403020204" pitchFamily="34" charset="0"/>
              <a:ea typeface="+mj-ea"/>
              <a:cs typeface="+mj-cs"/>
              <a:sym typeface="Source Sans Pro" panose="020B0503030403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r>
              <a:rPr lang="en-US" noProof="0"/>
              <a:t>Add a slide title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900752" y="4718091"/>
            <a:ext cx="124241" cy="161084"/>
          </a:xfrm>
        </p:spPr>
        <p:txBody>
          <a:bodyPr vert="horz" lIns="0" tIns="0" rIns="0" bIns="0" anchor="ctr"/>
          <a:lstStyle>
            <a:lvl1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200"/>
            </a:lvl1pPr>
            <a:lvl2pPr marL="217488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0</a:t>
            </a:r>
          </a:p>
        </p:txBody>
      </p:sp>
      <p:sp>
        <p:nvSpPr>
          <p:cNvPr id="7" name="Tekstvak 6"/>
          <p:cNvSpPr txBox="1"/>
          <p:nvPr userDrawn="1"/>
        </p:nvSpPr>
        <p:spPr>
          <a:xfrm>
            <a:off x="-10750" y="-662296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914400" rtl="0" eaLnBrk="1" latinLnBrk="0" hangingPunct="1"/>
            <a:r>
              <a:rPr lang="en-US" sz="2400" b="0" kern="1200" spc="50" baseline="0">
                <a:solidFill>
                  <a:schemeClr val="accent2"/>
                </a:solidFill>
                <a:latin typeface="+mj-lt"/>
                <a:ea typeface="+mn-ea"/>
                <a:cs typeface="Calibri" panose="020F0502020204030204" pitchFamily="34" charset="0"/>
              </a:rPr>
              <a:t>Table of content</a:t>
            </a:r>
          </a:p>
        </p:txBody>
      </p:sp>
      <p:sp>
        <p:nvSpPr>
          <p:cNvPr id="23" name="Tijdelijke aanduiding voor verticale tekst 2">
            <a:extLst>
              <a:ext uri="{FF2B5EF4-FFF2-40B4-BE49-F238E27FC236}">
                <a16:creationId xmlns:a16="http://schemas.microsoft.com/office/drawing/2014/main" id="{96339AD9-CAC5-49CB-996A-E9D7DBC51D43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176985" y="4732690"/>
            <a:ext cx="1827472" cy="259425"/>
          </a:xfrm>
        </p:spPr>
        <p:txBody>
          <a:bodyPr vert="horz" lIns="0" tIns="0" rIns="0" bIns="0" anchor="t"/>
          <a:lstStyle>
            <a:lvl1pPr marL="0" indent="0">
              <a:lnSpc>
                <a:spcPct val="90000"/>
              </a:lnSpc>
              <a:buNone/>
              <a:defRPr sz="2000" b="1"/>
            </a:lvl1pPr>
            <a:lvl2pPr marL="217488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Title of chapter</a:t>
            </a:r>
          </a:p>
        </p:txBody>
      </p:sp>
      <p:sp>
        <p:nvSpPr>
          <p:cNvPr id="42" name="Tijdelijke aanduiding voor afbeelding 8">
            <a:extLst>
              <a:ext uri="{FF2B5EF4-FFF2-40B4-BE49-F238E27FC236}">
                <a16:creationId xmlns:a16="http://schemas.microsoft.com/office/drawing/2014/main" id="{5CCB634F-0162-4BE7-A794-F4D4CB1AB6B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55204" y="2148289"/>
            <a:ext cx="1765962" cy="24567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bIns="792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he icon below </a:t>
            </a:r>
            <a:br>
              <a:rPr lang="en-US"/>
            </a:br>
            <a:r>
              <a:rPr lang="en-US"/>
              <a:t>to add an image.</a:t>
            </a:r>
          </a:p>
        </p:txBody>
      </p:sp>
      <p:sp>
        <p:nvSpPr>
          <p:cNvPr id="19" name="Tijdelijke aanduiding voor verticale tekst 2">
            <a:extLst>
              <a:ext uri="{FF2B5EF4-FFF2-40B4-BE49-F238E27FC236}">
                <a16:creationId xmlns:a16="http://schemas.microsoft.com/office/drawing/2014/main" id="{2BE47A7F-0613-45BB-B89A-E8B3FD639BA0}"/>
              </a:ext>
            </a:extLst>
          </p:cNvPr>
          <p:cNvSpPr>
            <a:spLocks noGrp="1"/>
          </p:cNvSpPr>
          <p:nvPr>
            <p:ph type="body" orient="vert" idx="23" hasCustomPrompt="1"/>
          </p:nvPr>
        </p:nvSpPr>
        <p:spPr>
          <a:xfrm>
            <a:off x="3068318" y="4718091"/>
            <a:ext cx="124241" cy="161084"/>
          </a:xfrm>
        </p:spPr>
        <p:txBody>
          <a:bodyPr vert="horz" lIns="0" tIns="0" rIns="0" bIns="0" anchor="ctr"/>
          <a:lstStyle>
            <a:lvl1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200"/>
            </a:lvl1pPr>
            <a:lvl2pPr marL="217488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0</a:t>
            </a:r>
          </a:p>
        </p:txBody>
      </p:sp>
      <p:sp>
        <p:nvSpPr>
          <p:cNvPr id="20" name="Tijdelijke aanduiding voor verticale tekst 2">
            <a:extLst>
              <a:ext uri="{FF2B5EF4-FFF2-40B4-BE49-F238E27FC236}">
                <a16:creationId xmlns:a16="http://schemas.microsoft.com/office/drawing/2014/main" id="{C5637204-7F1F-4691-A042-334CC8AC3716}"/>
              </a:ext>
            </a:extLst>
          </p:cNvPr>
          <p:cNvSpPr>
            <a:spLocks noGrp="1"/>
          </p:cNvSpPr>
          <p:nvPr>
            <p:ph type="body" orient="vert" idx="24" hasCustomPrompt="1"/>
          </p:nvPr>
        </p:nvSpPr>
        <p:spPr>
          <a:xfrm>
            <a:off x="3344551" y="4732690"/>
            <a:ext cx="1827472" cy="259425"/>
          </a:xfrm>
        </p:spPr>
        <p:txBody>
          <a:bodyPr vert="horz" lIns="0" tIns="0" rIns="0" bIns="0" anchor="t"/>
          <a:lstStyle>
            <a:lvl1pPr marL="0" indent="0">
              <a:lnSpc>
                <a:spcPct val="90000"/>
              </a:lnSpc>
              <a:buNone/>
              <a:defRPr sz="2000" b="1"/>
            </a:lvl1pPr>
            <a:lvl2pPr marL="217488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Title of chapter</a:t>
            </a:r>
          </a:p>
        </p:txBody>
      </p:sp>
      <p:sp>
        <p:nvSpPr>
          <p:cNvPr id="21" name="Tijdelijke aanduiding voor verticale tekst 2">
            <a:extLst>
              <a:ext uri="{FF2B5EF4-FFF2-40B4-BE49-F238E27FC236}">
                <a16:creationId xmlns:a16="http://schemas.microsoft.com/office/drawing/2014/main" id="{276E205A-1882-4B45-9958-0C36E93DC92F}"/>
              </a:ext>
            </a:extLst>
          </p:cNvPr>
          <p:cNvSpPr>
            <a:spLocks noGrp="1"/>
          </p:cNvSpPr>
          <p:nvPr>
            <p:ph type="body" orient="vert" idx="25" hasCustomPrompt="1"/>
          </p:nvPr>
        </p:nvSpPr>
        <p:spPr>
          <a:xfrm>
            <a:off x="5231814" y="4718091"/>
            <a:ext cx="124241" cy="161084"/>
          </a:xfrm>
        </p:spPr>
        <p:txBody>
          <a:bodyPr vert="horz" lIns="0" tIns="0" rIns="0" bIns="0" anchor="ctr"/>
          <a:lstStyle>
            <a:lvl1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200"/>
            </a:lvl1pPr>
            <a:lvl2pPr marL="217488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0</a:t>
            </a:r>
          </a:p>
        </p:txBody>
      </p:sp>
      <p:sp>
        <p:nvSpPr>
          <p:cNvPr id="22" name="Tijdelijke aanduiding voor verticale tekst 2">
            <a:extLst>
              <a:ext uri="{FF2B5EF4-FFF2-40B4-BE49-F238E27FC236}">
                <a16:creationId xmlns:a16="http://schemas.microsoft.com/office/drawing/2014/main" id="{8B48740D-10CF-46DA-8923-C574754753E8}"/>
              </a:ext>
            </a:extLst>
          </p:cNvPr>
          <p:cNvSpPr>
            <a:spLocks noGrp="1"/>
          </p:cNvSpPr>
          <p:nvPr>
            <p:ph type="body" orient="vert" idx="26" hasCustomPrompt="1"/>
          </p:nvPr>
        </p:nvSpPr>
        <p:spPr>
          <a:xfrm>
            <a:off x="5508047" y="4732690"/>
            <a:ext cx="1827472" cy="259425"/>
          </a:xfrm>
        </p:spPr>
        <p:txBody>
          <a:bodyPr vert="horz" lIns="0" tIns="0" rIns="0" bIns="0" anchor="t"/>
          <a:lstStyle>
            <a:lvl1pPr marL="0" indent="0">
              <a:lnSpc>
                <a:spcPct val="90000"/>
              </a:lnSpc>
              <a:buNone/>
              <a:defRPr sz="2000" b="1"/>
            </a:lvl1pPr>
            <a:lvl2pPr marL="217488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Title of chapter</a:t>
            </a:r>
          </a:p>
        </p:txBody>
      </p:sp>
      <p:sp>
        <p:nvSpPr>
          <p:cNvPr id="24" name="Tijdelijke aanduiding voor verticale tekst 2">
            <a:extLst>
              <a:ext uri="{FF2B5EF4-FFF2-40B4-BE49-F238E27FC236}">
                <a16:creationId xmlns:a16="http://schemas.microsoft.com/office/drawing/2014/main" id="{F6A32573-E838-4553-9B57-175E00B9436B}"/>
              </a:ext>
            </a:extLst>
          </p:cNvPr>
          <p:cNvSpPr>
            <a:spLocks noGrp="1"/>
          </p:cNvSpPr>
          <p:nvPr>
            <p:ph type="body" orient="vert" idx="27" hasCustomPrompt="1"/>
          </p:nvPr>
        </p:nvSpPr>
        <p:spPr>
          <a:xfrm>
            <a:off x="7395310" y="4718091"/>
            <a:ext cx="124241" cy="161084"/>
          </a:xfrm>
        </p:spPr>
        <p:txBody>
          <a:bodyPr vert="horz" lIns="0" tIns="0" rIns="0" bIns="0" anchor="ctr"/>
          <a:lstStyle>
            <a:lvl1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200"/>
            </a:lvl1pPr>
            <a:lvl2pPr marL="217488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0</a:t>
            </a:r>
          </a:p>
        </p:txBody>
      </p:sp>
      <p:sp>
        <p:nvSpPr>
          <p:cNvPr id="25" name="Tijdelijke aanduiding voor verticale tekst 2">
            <a:extLst>
              <a:ext uri="{FF2B5EF4-FFF2-40B4-BE49-F238E27FC236}">
                <a16:creationId xmlns:a16="http://schemas.microsoft.com/office/drawing/2014/main" id="{A7F2F170-5B87-4C92-B0E0-C534368A0993}"/>
              </a:ext>
            </a:extLst>
          </p:cNvPr>
          <p:cNvSpPr>
            <a:spLocks noGrp="1"/>
          </p:cNvSpPr>
          <p:nvPr>
            <p:ph type="body" orient="vert" idx="28" hasCustomPrompt="1"/>
          </p:nvPr>
        </p:nvSpPr>
        <p:spPr>
          <a:xfrm>
            <a:off x="7671543" y="4732690"/>
            <a:ext cx="1827472" cy="259425"/>
          </a:xfrm>
        </p:spPr>
        <p:txBody>
          <a:bodyPr vert="horz" lIns="0" tIns="0" rIns="0" bIns="0" anchor="t"/>
          <a:lstStyle>
            <a:lvl1pPr marL="0" indent="0">
              <a:lnSpc>
                <a:spcPct val="90000"/>
              </a:lnSpc>
              <a:buNone/>
              <a:defRPr sz="2000" b="1"/>
            </a:lvl1pPr>
            <a:lvl2pPr marL="217488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Title of chapter</a:t>
            </a:r>
          </a:p>
        </p:txBody>
      </p:sp>
      <p:sp>
        <p:nvSpPr>
          <p:cNvPr id="26" name="Tijdelijke aanduiding voor verticale tekst 2">
            <a:extLst>
              <a:ext uri="{FF2B5EF4-FFF2-40B4-BE49-F238E27FC236}">
                <a16:creationId xmlns:a16="http://schemas.microsoft.com/office/drawing/2014/main" id="{97FE92C5-4CFC-426E-9339-B85BA962F52E}"/>
              </a:ext>
            </a:extLst>
          </p:cNvPr>
          <p:cNvSpPr>
            <a:spLocks noGrp="1"/>
          </p:cNvSpPr>
          <p:nvPr>
            <p:ph type="body" orient="vert" idx="29" hasCustomPrompt="1"/>
          </p:nvPr>
        </p:nvSpPr>
        <p:spPr>
          <a:xfrm>
            <a:off x="9558806" y="4718091"/>
            <a:ext cx="124241" cy="161084"/>
          </a:xfrm>
        </p:spPr>
        <p:txBody>
          <a:bodyPr vert="horz" lIns="0" tIns="0" rIns="0" bIns="0" anchor="ctr"/>
          <a:lstStyle>
            <a:lvl1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200"/>
            </a:lvl1pPr>
            <a:lvl2pPr marL="217488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0</a:t>
            </a:r>
          </a:p>
        </p:txBody>
      </p:sp>
      <p:sp>
        <p:nvSpPr>
          <p:cNvPr id="27" name="Tijdelijke aanduiding voor verticale tekst 2">
            <a:extLst>
              <a:ext uri="{FF2B5EF4-FFF2-40B4-BE49-F238E27FC236}">
                <a16:creationId xmlns:a16="http://schemas.microsoft.com/office/drawing/2014/main" id="{0957B1EF-1D64-44E1-B9A8-F6693F964298}"/>
              </a:ext>
            </a:extLst>
          </p:cNvPr>
          <p:cNvSpPr>
            <a:spLocks noGrp="1"/>
          </p:cNvSpPr>
          <p:nvPr>
            <p:ph type="body" orient="vert" idx="30" hasCustomPrompt="1"/>
          </p:nvPr>
        </p:nvSpPr>
        <p:spPr>
          <a:xfrm>
            <a:off x="9835039" y="4732690"/>
            <a:ext cx="1827472" cy="259425"/>
          </a:xfrm>
        </p:spPr>
        <p:txBody>
          <a:bodyPr vert="horz" lIns="0" tIns="0" rIns="0" bIns="0" anchor="t"/>
          <a:lstStyle>
            <a:lvl1pPr marL="0" indent="0">
              <a:lnSpc>
                <a:spcPct val="90000"/>
              </a:lnSpc>
              <a:buNone/>
              <a:defRPr sz="2000" b="1"/>
            </a:lvl1pPr>
            <a:lvl2pPr marL="217488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Title of chapter</a:t>
            </a:r>
          </a:p>
        </p:txBody>
      </p:sp>
      <p:sp>
        <p:nvSpPr>
          <p:cNvPr id="28" name="Tijdelijke aanduiding voor afbeelding 8">
            <a:extLst>
              <a:ext uri="{FF2B5EF4-FFF2-40B4-BE49-F238E27FC236}">
                <a16:creationId xmlns:a16="http://schemas.microsoft.com/office/drawing/2014/main" id="{6507097F-43EB-481F-AB02-F5344FB08844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119421" y="2148289"/>
            <a:ext cx="1765962" cy="24567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bIns="792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he icon below </a:t>
            </a:r>
            <a:br>
              <a:rPr lang="en-US"/>
            </a:br>
            <a:r>
              <a:rPr lang="en-US"/>
              <a:t>to add an image.</a:t>
            </a:r>
          </a:p>
        </p:txBody>
      </p:sp>
      <p:sp>
        <p:nvSpPr>
          <p:cNvPr id="29" name="Tijdelijke aanduiding voor afbeelding 8">
            <a:extLst>
              <a:ext uri="{FF2B5EF4-FFF2-40B4-BE49-F238E27FC236}">
                <a16:creationId xmlns:a16="http://schemas.microsoft.com/office/drawing/2014/main" id="{A1EEA05F-8CEE-4EED-BBB5-B6CC8552722A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5279988" y="2148289"/>
            <a:ext cx="1765962" cy="24567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bIns="792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he icon below </a:t>
            </a:r>
            <a:br>
              <a:rPr lang="en-US"/>
            </a:br>
            <a:r>
              <a:rPr lang="en-US"/>
              <a:t>to add an image.</a:t>
            </a:r>
          </a:p>
        </p:txBody>
      </p:sp>
      <p:sp>
        <p:nvSpPr>
          <p:cNvPr id="30" name="Tijdelijke aanduiding voor afbeelding 8">
            <a:extLst>
              <a:ext uri="{FF2B5EF4-FFF2-40B4-BE49-F238E27FC236}">
                <a16:creationId xmlns:a16="http://schemas.microsoft.com/office/drawing/2014/main" id="{BF3B6F3E-F058-4EFB-9028-F4572B32AEC5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7440555" y="2148289"/>
            <a:ext cx="1765962" cy="24567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bIns="792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he icon below </a:t>
            </a:r>
            <a:br>
              <a:rPr lang="en-US"/>
            </a:br>
            <a:r>
              <a:rPr lang="en-US"/>
              <a:t>to add an image.</a:t>
            </a:r>
          </a:p>
        </p:txBody>
      </p:sp>
      <p:sp>
        <p:nvSpPr>
          <p:cNvPr id="31" name="Tijdelijke aanduiding voor afbeelding 8">
            <a:extLst>
              <a:ext uri="{FF2B5EF4-FFF2-40B4-BE49-F238E27FC236}">
                <a16:creationId xmlns:a16="http://schemas.microsoft.com/office/drawing/2014/main" id="{F4EBA69A-59BF-4A22-A8E2-4672012926E5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9601122" y="2148289"/>
            <a:ext cx="1765962" cy="24567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bIns="792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he icon below </a:t>
            </a:r>
            <a:br>
              <a:rPr lang="en-US"/>
            </a:br>
            <a:r>
              <a:rPr lang="en-US"/>
              <a:t>to add an image.</a:t>
            </a:r>
          </a:p>
        </p:txBody>
      </p:sp>
      <p:sp>
        <p:nvSpPr>
          <p:cNvPr id="32" name="Tijdelijke aanduiding voor verticale tekst 2">
            <a:extLst>
              <a:ext uri="{FF2B5EF4-FFF2-40B4-BE49-F238E27FC236}">
                <a16:creationId xmlns:a16="http://schemas.microsoft.com/office/drawing/2014/main" id="{A03FD9A5-BB58-45AF-9658-E81E6B15D5D3}"/>
              </a:ext>
            </a:extLst>
          </p:cNvPr>
          <p:cNvSpPr>
            <a:spLocks noGrp="1"/>
          </p:cNvSpPr>
          <p:nvPr>
            <p:ph type="body" orient="vert" idx="35" hasCustomPrompt="1"/>
          </p:nvPr>
        </p:nvSpPr>
        <p:spPr>
          <a:xfrm>
            <a:off x="977238" y="992477"/>
            <a:ext cx="10651889" cy="384511"/>
          </a:xfrm>
        </p:spPr>
        <p:txBody>
          <a:bodyPr vert="horz" lIns="0" tIns="0" bIns="0" anchor="t"/>
          <a:lstStyle>
            <a:lvl1pPr marL="0" indent="0">
              <a:buNone/>
              <a:defRPr sz="3000">
                <a:solidFill>
                  <a:schemeClr val="accent2"/>
                </a:solidFill>
              </a:defRPr>
            </a:lvl1pPr>
            <a:lvl2pPr marL="217488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33" name="Tijdelijke aanduiding voor dianummer 4">
            <a:extLst>
              <a:ext uri="{FF2B5EF4-FFF2-40B4-BE49-F238E27FC236}">
                <a16:creationId xmlns:a16="http://schemas.microsoft.com/office/drawing/2014/main" id="{0CB2DC05-3776-4E67-949E-B5D000EAA5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680" y="6274117"/>
            <a:ext cx="442041" cy="365125"/>
          </a:xfrm>
        </p:spPr>
        <p:txBody>
          <a:bodyPr/>
          <a:lstStyle/>
          <a:p>
            <a:fld id="{B502C9A5-716F-45E6-800B-D4D02CE26F90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9799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0EBCD9A-CB53-460D-9A43-33E707F834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727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0EBCD9A-CB53-460D-9A43-33E707F834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>
            <a:extLst>
              <a:ext uri="{FF2B5EF4-FFF2-40B4-BE49-F238E27FC236}">
                <a16:creationId xmlns:a16="http://schemas.microsoft.com/office/drawing/2014/main" id="{DAF7F0BE-1368-471B-96B8-BC58087E4A1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kstvak 4"/>
          <p:cNvSpPr txBox="1"/>
          <p:nvPr userDrawn="1"/>
        </p:nvSpPr>
        <p:spPr>
          <a:xfrm>
            <a:off x="-10750" y="-662296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0" spc="50" baseline="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Contact</a:t>
            </a:r>
          </a:p>
        </p:txBody>
      </p:sp>
      <p:grpSp>
        <p:nvGrpSpPr>
          <p:cNvPr id="9" name="Graphic 17">
            <a:extLst>
              <a:ext uri="{FF2B5EF4-FFF2-40B4-BE49-F238E27FC236}">
                <a16:creationId xmlns:a16="http://schemas.microsoft.com/office/drawing/2014/main" id="{5E6FF773-8AAF-4DE5-9672-87CCC94A9C92}"/>
              </a:ext>
            </a:extLst>
          </p:cNvPr>
          <p:cNvGrpSpPr/>
          <p:nvPr userDrawn="1"/>
        </p:nvGrpSpPr>
        <p:grpSpPr>
          <a:xfrm>
            <a:off x="917332" y="1695570"/>
            <a:ext cx="2174619" cy="159467"/>
            <a:chOff x="4557712" y="3314700"/>
            <a:chExt cx="3074479" cy="225456"/>
          </a:xfrm>
          <a:solidFill>
            <a:schemeClr val="bg1"/>
          </a:solidFill>
        </p:grpSpPr>
        <p:sp>
          <p:nvSpPr>
            <p:cNvPr id="11" name="Vrije vorm: vorm 10">
              <a:extLst>
                <a:ext uri="{FF2B5EF4-FFF2-40B4-BE49-F238E27FC236}">
                  <a16:creationId xmlns:a16="http://schemas.microsoft.com/office/drawing/2014/main" id="{55EDE590-B4D6-4083-82AD-591510BC96E4}"/>
                </a:ext>
              </a:extLst>
            </p:cNvPr>
            <p:cNvSpPr/>
            <p:nvPr/>
          </p:nvSpPr>
          <p:spPr>
            <a:xfrm>
              <a:off x="4557712" y="3316033"/>
              <a:ext cx="157448" cy="220218"/>
            </a:xfrm>
            <a:custGeom>
              <a:avLst/>
              <a:gdLst>
                <a:gd name="connsiteX0" fmla="*/ 116205 w 157448"/>
                <a:gd name="connsiteY0" fmla="*/ 103346 h 220218"/>
                <a:gd name="connsiteX1" fmla="*/ 116205 w 157448"/>
                <a:gd name="connsiteY1" fmla="*/ 102013 h 220218"/>
                <a:gd name="connsiteX2" fmla="*/ 146209 w 157448"/>
                <a:gd name="connsiteY2" fmla="*/ 54197 h 220218"/>
                <a:gd name="connsiteX3" fmla="*/ 68961 w 157448"/>
                <a:gd name="connsiteY3" fmla="*/ 0 h 220218"/>
                <a:gd name="connsiteX4" fmla="*/ 0 w 157448"/>
                <a:gd name="connsiteY4" fmla="*/ 0 h 220218"/>
                <a:gd name="connsiteX5" fmla="*/ 0 w 157448"/>
                <a:gd name="connsiteY5" fmla="*/ 220218 h 220218"/>
                <a:gd name="connsiteX6" fmla="*/ 74581 w 157448"/>
                <a:gd name="connsiteY6" fmla="*/ 220218 h 220218"/>
                <a:gd name="connsiteX7" fmla="*/ 157448 w 157448"/>
                <a:gd name="connsiteY7" fmla="*/ 155543 h 220218"/>
                <a:gd name="connsiteX8" fmla="*/ 116205 w 157448"/>
                <a:gd name="connsiteY8" fmla="*/ 103346 h 220218"/>
                <a:gd name="connsiteX9" fmla="*/ 38291 w 157448"/>
                <a:gd name="connsiteY9" fmla="*/ 30290 h 220218"/>
                <a:gd name="connsiteX10" fmla="*/ 66389 w 157448"/>
                <a:gd name="connsiteY10" fmla="*/ 30290 h 220218"/>
                <a:gd name="connsiteX11" fmla="*/ 108680 w 157448"/>
                <a:gd name="connsiteY11" fmla="*/ 59912 h 220218"/>
                <a:gd name="connsiteX12" fmla="*/ 65818 w 157448"/>
                <a:gd name="connsiteY12" fmla="*/ 90869 h 220218"/>
                <a:gd name="connsiteX13" fmla="*/ 38291 w 157448"/>
                <a:gd name="connsiteY13" fmla="*/ 90869 h 220218"/>
                <a:gd name="connsiteX14" fmla="*/ 38291 w 157448"/>
                <a:gd name="connsiteY14" fmla="*/ 30290 h 220218"/>
                <a:gd name="connsiteX15" fmla="*/ 70676 w 157448"/>
                <a:gd name="connsiteY15" fmla="*/ 189833 h 220218"/>
                <a:gd name="connsiteX16" fmla="*/ 38291 w 157448"/>
                <a:gd name="connsiteY16" fmla="*/ 189833 h 220218"/>
                <a:gd name="connsiteX17" fmla="*/ 38291 w 157448"/>
                <a:gd name="connsiteY17" fmla="*/ 120110 h 220218"/>
                <a:gd name="connsiteX18" fmla="*/ 70676 w 157448"/>
                <a:gd name="connsiteY18" fmla="*/ 120110 h 220218"/>
                <a:gd name="connsiteX19" fmla="*/ 120206 w 157448"/>
                <a:gd name="connsiteY19" fmla="*/ 153448 h 220218"/>
                <a:gd name="connsiteX20" fmla="*/ 70676 w 157448"/>
                <a:gd name="connsiteY20" fmla="*/ 189833 h 220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57448" h="220218">
                  <a:moveTo>
                    <a:pt x="116205" y="103346"/>
                  </a:moveTo>
                  <a:lnTo>
                    <a:pt x="116205" y="102013"/>
                  </a:lnTo>
                  <a:cubicBezTo>
                    <a:pt x="135065" y="95250"/>
                    <a:pt x="146209" y="75057"/>
                    <a:pt x="146209" y="54197"/>
                  </a:cubicBezTo>
                  <a:cubicBezTo>
                    <a:pt x="146209" y="13811"/>
                    <a:pt x="113538" y="0"/>
                    <a:pt x="68961" y="0"/>
                  </a:cubicBezTo>
                  <a:lnTo>
                    <a:pt x="0" y="0"/>
                  </a:lnTo>
                  <a:lnTo>
                    <a:pt x="0" y="220218"/>
                  </a:lnTo>
                  <a:lnTo>
                    <a:pt x="74581" y="220218"/>
                  </a:lnTo>
                  <a:cubicBezTo>
                    <a:pt x="122111" y="220218"/>
                    <a:pt x="157448" y="199644"/>
                    <a:pt x="157448" y="155543"/>
                  </a:cubicBezTo>
                  <a:cubicBezTo>
                    <a:pt x="157448" y="125921"/>
                    <a:pt x="139922" y="108680"/>
                    <a:pt x="116205" y="103346"/>
                  </a:cubicBezTo>
                  <a:close/>
                  <a:moveTo>
                    <a:pt x="38291" y="30290"/>
                  </a:moveTo>
                  <a:lnTo>
                    <a:pt x="66389" y="30290"/>
                  </a:lnTo>
                  <a:cubicBezTo>
                    <a:pt x="94488" y="30290"/>
                    <a:pt x="108680" y="38386"/>
                    <a:pt x="108680" y="59912"/>
                  </a:cubicBezTo>
                  <a:cubicBezTo>
                    <a:pt x="108680" y="78772"/>
                    <a:pt x="95822" y="90869"/>
                    <a:pt x="65818" y="90869"/>
                  </a:cubicBezTo>
                  <a:lnTo>
                    <a:pt x="38291" y="90869"/>
                  </a:lnTo>
                  <a:lnTo>
                    <a:pt x="38291" y="30290"/>
                  </a:lnTo>
                  <a:close/>
                  <a:moveTo>
                    <a:pt x="70676" y="189833"/>
                  </a:moveTo>
                  <a:lnTo>
                    <a:pt x="38291" y="189833"/>
                  </a:lnTo>
                  <a:lnTo>
                    <a:pt x="38291" y="120110"/>
                  </a:lnTo>
                  <a:lnTo>
                    <a:pt x="70676" y="120110"/>
                  </a:lnTo>
                  <a:cubicBezTo>
                    <a:pt x="103061" y="120110"/>
                    <a:pt x="120206" y="130207"/>
                    <a:pt x="120206" y="153448"/>
                  </a:cubicBezTo>
                  <a:cubicBezTo>
                    <a:pt x="120110" y="178118"/>
                    <a:pt x="102299" y="189833"/>
                    <a:pt x="70676" y="18983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Vrije vorm: vorm 11">
              <a:extLst>
                <a:ext uri="{FF2B5EF4-FFF2-40B4-BE49-F238E27FC236}">
                  <a16:creationId xmlns:a16="http://schemas.microsoft.com/office/drawing/2014/main" id="{D9456937-7439-4DBD-A810-14ABFAFBD8A1}"/>
                </a:ext>
              </a:extLst>
            </p:cNvPr>
            <p:cNvSpPr/>
            <p:nvPr/>
          </p:nvSpPr>
          <p:spPr>
            <a:xfrm>
              <a:off x="4758118" y="3315938"/>
              <a:ext cx="162686" cy="220218"/>
            </a:xfrm>
            <a:custGeom>
              <a:avLst/>
              <a:gdLst>
                <a:gd name="connsiteX0" fmla="*/ 57721 w 162686"/>
                <a:gd name="connsiteY0" fmla="*/ 0 h 220218"/>
                <a:gd name="connsiteX1" fmla="*/ 0 w 162686"/>
                <a:gd name="connsiteY1" fmla="*/ 0 h 220218"/>
                <a:gd name="connsiteX2" fmla="*/ 0 w 162686"/>
                <a:gd name="connsiteY2" fmla="*/ 220218 h 220218"/>
                <a:gd name="connsiteX3" fmla="*/ 59722 w 162686"/>
                <a:gd name="connsiteY3" fmla="*/ 220218 h 220218"/>
                <a:gd name="connsiteX4" fmla="*/ 162687 w 162686"/>
                <a:gd name="connsiteY4" fmla="*/ 109061 h 220218"/>
                <a:gd name="connsiteX5" fmla="*/ 57721 w 162686"/>
                <a:gd name="connsiteY5" fmla="*/ 0 h 220218"/>
                <a:gd name="connsiteX6" fmla="*/ 55054 w 162686"/>
                <a:gd name="connsiteY6" fmla="*/ 188595 h 220218"/>
                <a:gd name="connsiteX7" fmla="*/ 38195 w 162686"/>
                <a:gd name="connsiteY7" fmla="*/ 188595 h 220218"/>
                <a:gd name="connsiteX8" fmla="*/ 38195 w 162686"/>
                <a:gd name="connsiteY8" fmla="*/ 31718 h 220218"/>
                <a:gd name="connsiteX9" fmla="*/ 55054 w 162686"/>
                <a:gd name="connsiteY9" fmla="*/ 31718 h 220218"/>
                <a:gd name="connsiteX10" fmla="*/ 123349 w 162686"/>
                <a:gd name="connsiteY10" fmla="*/ 109157 h 220218"/>
                <a:gd name="connsiteX11" fmla="*/ 55054 w 162686"/>
                <a:gd name="connsiteY11" fmla="*/ 188595 h 220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2686" h="220218">
                  <a:moveTo>
                    <a:pt x="57721" y="0"/>
                  </a:moveTo>
                  <a:lnTo>
                    <a:pt x="0" y="0"/>
                  </a:lnTo>
                  <a:lnTo>
                    <a:pt x="0" y="220218"/>
                  </a:lnTo>
                  <a:lnTo>
                    <a:pt x="59722" y="220218"/>
                  </a:lnTo>
                  <a:cubicBezTo>
                    <a:pt x="123730" y="220218"/>
                    <a:pt x="162687" y="182118"/>
                    <a:pt x="162687" y="109061"/>
                  </a:cubicBezTo>
                  <a:cubicBezTo>
                    <a:pt x="162687" y="36386"/>
                    <a:pt x="123730" y="0"/>
                    <a:pt x="57721" y="0"/>
                  </a:cubicBezTo>
                  <a:close/>
                  <a:moveTo>
                    <a:pt x="55054" y="188595"/>
                  </a:moveTo>
                  <a:lnTo>
                    <a:pt x="38195" y="188595"/>
                  </a:lnTo>
                  <a:lnTo>
                    <a:pt x="38195" y="31718"/>
                  </a:lnTo>
                  <a:lnTo>
                    <a:pt x="55054" y="31718"/>
                  </a:lnTo>
                  <a:cubicBezTo>
                    <a:pt x="98584" y="31718"/>
                    <a:pt x="123349" y="55245"/>
                    <a:pt x="123349" y="109157"/>
                  </a:cubicBezTo>
                  <a:cubicBezTo>
                    <a:pt x="123444" y="163354"/>
                    <a:pt x="98679" y="188595"/>
                    <a:pt x="55054" y="18859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Vrije vorm: vorm 12">
              <a:extLst>
                <a:ext uri="{FF2B5EF4-FFF2-40B4-BE49-F238E27FC236}">
                  <a16:creationId xmlns:a16="http://schemas.microsoft.com/office/drawing/2014/main" id="{B9280244-A61D-42F2-A9C0-7BC7B2EAFB6C}"/>
                </a:ext>
              </a:extLst>
            </p:cNvPr>
            <p:cNvSpPr/>
            <p:nvPr/>
          </p:nvSpPr>
          <p:spPr>
            <a:xfrm>
              <a:off x="4967382" y="3315938"/>
              <a:ext cx="160782" cy="220218"/>
            </a:xfrm>
            <a:custGeom>
              <a:avLst/>
              <a:gdLst>
                <a:gd name="connsiteX0" fmla="*/ 152210 w 160782"/>
                <a:gd name="connsiteY0" fmla="*/ 65341 h 220218"/>
                <a:gd name="connsiteX1" fmla="*/ 72962 w 160782"/>
                <a:gd name="connsiteY1" fmla="*/ 0 h 220218"/>
                <a:gd name="connsiteX2" fmla="*/ 0 w 160782"/>
                <a:gd name="connsiteY2" fmla="*/ 0 h 220218"/>
                <a:gd name="connsiteX3" fmla="*/ 0 w 160782"/>
                <a:gd name="connsiteY3" fmla="*/ 220218 h 220218"/>
                <a:gd name="connsiteX4" fmla="*/ 38291 w 160782"/>
                <a:gd name="connsiteY4" fmla="*/ 220218 h 220218"/>
                <a:gd name="connsiteX5" fmla="*/ 38291 w 160782"/>
                <a:gd name="connsiteY5" fmla="*/ 134017 h 220218"/>
                <a:gd name="connsiteX6" fmla="*/ 71342 w 160782"/>
                <a:gd name="connsiteY6" fmla="*/ 134017 h 220218"/>
                <a:gd name="connsiteX7" fmla="*/ 117920 w 160782"/>
                <a:gd name="connsiteY7" fmla="*/ 220218 h 220218"/>
                <a:gd name="connsiteX8" fmla="*/ 160782 w 160782"/>
                <a:gd name="connsiteY8" fmla="*/ 220218 h 220218"/>
                <a:gd name="connsiteX9" fmla="*/ 109252 w 160782"/>
                <a:gd name="connsiteY9" fmla="*/ 128302 h 220218"/>
                <a:gd name="connsiteX10" fmla="*/ 152210 w 160782"/>
                <a:gd name="connsiteY10" fmla="*/ 65341 h 220218"/>
                <a:gd name="connsiteX11" fmla="*/ 68961 w 160782"/>
                <a:gd name="connsiteY11" fmla="*/ 103061 h 220218"/>
                <a:gd name="connsiteX12" fmla="*/ 38291 w 160782"/>
                <a:gd name="connsiteY12" fmla="*/ 103061 h 220218"/>
                <a:gd name="connsiteX13" fmla="*/ 38291 w 160782"/>
                <a:gd name="connsiteY13" fmla="*/ 31337 h 220218"/>
                <a:gd name="connsiteX14" fmla="*/ 68961 w 160782"/>
                <a:gd name="connsiteY14" fmla="*/ 31337 h 220218"/>
                <a:gd name="connsiteX15" fmla="*/ 114491 w 160782"/>
                <a:gd name="connsiteY15" fmla="*/ 65341 h 220218"/>
                <a:gd name="connsiteX16" fmla="*/ 68961 w 160782"/>
                <a:gd name="connsiteY16" fmla="*/ 103061 h 220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60782" h="220218">
                  <a:moveTo>
                    <a:pt x="152210" y="65341"/>
                  </a:moveTo>
                  <a:cubicBezTo>
                    <a:pt x="152210" y="16193"/>
                    <a:pt x="117920" y="0"/>
                    <a:pt x="72962" y="0"/>
                  </a:cubicBezTo>
                  <a:lnTo>
                    <a:pt x="0" y="0"/>
                  </a:lnTo>
                  <a:lnTo>
                    <a:pt x="0" y="220218"/>
                  </a:lnTo>
                  <a:lnTo>
                    <a:pt x="38291" y="220218"/>
                  </a:lnTo>
                  <a:lnTo>
                    <a:pt x="38291" y="134017"/>
                  </a:lnTo>
                  <a:lnTo>
                    <a:pt x="71342" y="134017"/>
                  </a:lnTo>
                  <a:lnTo>
                    <a:pt x="117920" y="220218"/>
                  </a:lnTo>
                  <a:lnTo>
                    <a:pt x="160782" y="220218"/>
                  </a:lnTo>
                  <a:lnTo>
                    <a:pt x="109252" y="128302"/>
                  </a:lnTo>
                  <a:cubicBezTo>
                    <a:pt x="134969" y="119253"/>
                    <a:pt x="152210" y="99060"/>
                    <a:pt x="152210" y="65341"/>
                  </a:cubicBezTo>
                  <a:close/>
                  <a:moveTo>
                    <a:pt x="68961" y="103061"/>
                  </a:moveTo>
                  <a:lnTo>
                    <a:pt x="38291" y="103061"/>
                  </a:lnTo>
                  <a:lnTo>
                    <a:pt x="38291" y="31337"/>
                  </a:lnTo>
                  <a:lnTo>
                    <a:pt x="68961" y="31337"/>
                  </a:lnTo>
                  <a:cubicBezTo>
                    <a:pt x="98298" y="31337"/>
                    <a:pt x="114491" y="40100"/>
                    <a:pt x="114491" y="65341"/>
                  </a:cubicBezTo>
                  <a:cubicBezTo>
                    <a:pt x="114586" y="90297"/>
                    <a:pt x="98393" y="103061"/>
                    <a:pt x="68961" y="1030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Vrije vorm: vorm 13">
              <a:extLst>
                <a:ext uri="{FF2B5EF4-FFF2-40B4-BE49-F238E27FC236}">
                  <a16:creationId xmlns:a16="http://schemas.microsoft.com/office/drawing/2014/main" id="{31386BAA-62BD-4722-B9E5-1AE1138141F9}"/>
                </a:ext>
              </a:extLst>
            </p:cNvPr>
            <p:cNvSpPr/>
            <p:nvPr/>
          </p:nvSpPr>
          <p:spPr>
            <a:xfrm>
              <a:off x="5194553" y="3315938"/>
              <a:ext cx="163068" cy="220313"/>
            </a:xfrm>
            <a:custGeom>
              <a:avLst/>
              <a:gdLst>
                <a:gd name="connsiteX0" fmla="*/ 0 w 163068"/>
                <a:gd name="connsiteY0" fmla="*/ 33052 h 220313"/>
                <a:gd name="connsiteX1" fmla="*/ 62389 w 163068"/>
                <a:gd name="connsiteY1" fmla="*/ 33052 h 220313"/>
                <a:gd name="connsiteX2" fmla="*/ 62389 w 163068"/>
                <a:gd name="connsiteY2" fmla="*/ 220313 h 220313"/>
                <a:gd name="connsiteX3" fmla="*/ 100679 w 163068"/>
                <a:gd name="connsiteY3" fmla="*/ 220313 h 220313"/>
                <a:gd name="connsiteX4" fmla="*/ 100679 w 163068"/>
                <a:gd name="connsiteY4" fmla="*/ 33052 h 220313"/>
                <a:gd name="connsiteX5" fmla="*/ 163068 w 163068"/>
                <a:gd name="connsiteY5" fmla="*/ 33052 h 220313"/>
                <a:gd name="connsiteX6" fmla="*/ 163068 w 163068"/>
                <a:gd name="connsiteY6" fmla="*/ 0 h 220313"/>
                <a:gd name="connsiteX7" fmla="*/ 0 w 163068"/>
                <a:gd name="connsiteY7" fmla="*/ 0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068" h="220313">
                  <a:moveTo>
                    <a:pt x="0" y="33052"/>
                  </a:moveTo>
                  <a:lnTo>
                    <a:pt x="62389" y="33052"/>
                  </a:lnTo>
                  <a:lnTo>
                    <a:pt x="62389" y="220313"/>
                  </a:lnTo>
                  <a:lnTo>
                    <a:pt x="100679" y="220313"/>
                  </a:lnTo>
                  <a:lnTo>
                    <a:pt x="100679" y="33052"/>
                  </a:lnTo>
                  <a:lnTo>
                    <a:pt x="163068" y="33052"/>
                  </a:lnTo>
                  <a:lnTo>
                    <a:pt x="16306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Vrije vorm: vorm 14">
              <a:extLst>
                <a:ext uri="{FF2B5EF4-FFF2-40B4-BE49-F238E27FC236}">
                  <a16:creationId xmlns:a16="http://schemas.microsoft.com/office/drawing/2014/main" id="{1A25B4EA-7C53-434C-88E4-0AF34D317533}"/>
                </a:ext>
              </a:extLst>
            </p:cNvPr>
            <p:cNvSpPr/>
            <p:nvPr/>
          </p:nvSpPr>
          <p:spPr>
            <a:xfrm>
              <a:off x="5396864" y="3315938"/>
              <a:ext cx="164020" cy="220313"/>
            </a:xfrm>
            <a:custGeom>
              <a:avLst/>
              <a:gdLst>
                <a:gd name="connsiteX0" fmla="*/ 125730 w 164020"/>
                <a:gd name="connsiteY0" fmla="*/ 88583 h 220313"/>
                <a:gd name="connsiteX1" fmla="*/ 38291 w 164020"/>
                <a:gd name="connsiteY1" fmla="*/ 88583 h 220313"/>
                <a:gd name="connsiteX2" fmla="*/ 38291 w 164020"/>
                <a:gd name="connsiteY2" fmla="*/ 0 h 220313"/>
                <a:gd name="connsiteX3" fmla="*/ 0 w 164020"/>
                <a:gd name="connsiteY3" fmla="*/ 0 h 220313"/>
                <a:gd name="connsiteX4" fmla="*/ 0 w 164020"/>
                <a:gd name="connsiteY4" fmla="*/ 220313 h 220313"/>
                <a:gd name="connsiteX5" fmla="*/ 38291 w 164020"/>
                <a:gd name="connsiteY5" fmla="*/ 220313 h 220313"/>
                <a:gd name="connsiteX6" fmla="*/ 38291 w 164020"/>
                <a:gd name="connsiteY6" fmla="*/ 122587 h 220313"/>
                <a:gd name="connsiteX7" fmla="*/ 125730 w 164020"/>
                <a:gd name="connsiteY7" fmla="*/ 122587 h 220313"/>
                <a:gd name="connsiteX8" fmla="*/ 125730 w 164020"/>
                <a:gd name="connsiteY8" fmla="*/ 220313 h 220313"/>
                <a:gd name="connsiteX9" fmla="*/ 164021 w 164020"/>
                <a:gd name="connsiteY9" fmla="*/ 220313 h 220313"/>
                <a:gd name="connsiteX10" fmla="*/ 164021 w 164020"/>
                <a:gd name="connsiteY10" fmla="*/ 0 h 220313"/>
                <a:gd name="connsiteX11" fmla="*/ 125730 w 164020"/>
                <a:gd name="connsiteY11" fmla="*/ 0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4020" h="220313">
                  <a:moveTo>
                    <a:pt x="125730" y="88583"/>
                  </a:moveTo>
                  <a:lnTo>
                    <a:pt x="38291" y="88583"/>
                  </a:lnTo>
                  <a:lnTo>
                    <a:pt x="38291" y="0"/>
                  </a:lnTo>
                  <a:lnTo>
                    <a:pt x="0" y="0"/>
                  </a:lnTo>
                  <a:lnTo>
                    <a:pt x="0" y="220313"/>
                  </a:lnTo>
                  <a:lnTo>
                    <a:pt x="38291" y="220313"/>
                  </a:lnTo>
                  <a:lnTo>
                    <a:pt x="38291" y="122587"/>
                  </a:lnTo>
                  <a:lnTo>
                    <a:pt x="125730" y="122587"/>
                  </a:lnTo>
                  <a:lnTo>
                    <a:pt x="125730" y="220313"/>
                  </a:lnTo>
                  <a:lnTo>
                    <a:pt x="164021" y="220313"/>
                  </a:lnTo>
                  <a:lnTo>
                    <a:pt x="164021" y="0"/>
                  </a:lnTo>
                  <a:lnTo>
                    <a:pt x="12573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Vrije vorm: vorm 15">
              <a:extLst>
                <a:ext uri="{FF2B5EF4-FFF2-40B4-BE49-F238E27FC236}">
                  <a16:creationId xmlns:a16="http://schemas.microsoft.com/office/drawing/2014/main" id="{A6CE96E2-F264-4230-AAF2-EC5C38A85679}"/>
                </a:ext>
              </a:extLst>
            </p:cNvPr>
            <p:cNvSpPr/>
            <p:nvPr/>
          </p:nvSpPr>
          <p:spPr>
            <a:xfrm>
              <a:off x="5619082" y="3315938"/>
              <a:ext cx="133350" cy="220313"/>
            </a:xfrm>
            <a:custGeom>
              <a:avLst/>
              <a:gdLst>
                <a:gd name="connsiteX0" fmla="*/ 38290 w 133350"/>
                <a:gd name="connsiteY0" fmla="*/ 122301 h 220313"/>
                <a:gd name="connsiteX1" fmla="*/ 115824 w 133350"/>
                <a:gd name="connsiteY1" fmla="*/ 122301 h 220313"/>
                <a:gd name="connsiteX2" fmla="*/ 115824 w 133350"/>
                <a:gd name="connsiteY2" fmla="*/ 89249 h 220313"/>
                <a:gd name="connsiteX3" fmla="*/ 38290 w 133350"/>
                <a:gd name="connsiteY3" fmla="*/ 89249 h 220313"/>
                <a:gd name="connsiteX4" fmla="*/ 38290 w 133350"/>
                <a:gd name="connsiteY4" fmla="*/ 33052 h 220313"/>
                <a:gd name="connsiteX5" fmla="*/ 130016 w 133350"/>
                <a:gd name="connsiteY5" fmla="*/ 33052 h 220313"/>
                <a:gd name="connsiteX6" fmla="*/ 130016 w 133350"/>
                <a:gd name="connsiteY6" fmla="*/ 0 h 220313"/>
                <a:gd name="connsiteX7" fmla="*/ 0 w 133350"/>
                <a:gd name="connsiteY7" fmla="*/ 0 h 220313"/>
                <a:gd name="connsiteX8" fmla="*/ 0 w 133350"/>
                <a:gd name="connsiteY8" fmla="*/ 220313 h 220313"/>
                <a:gd name="connsiteX9" fmla="*/ 133350 w 133350"/>
                <a:gd name="connsiteY9" fmla="*/ 220313 h 220313"/>
                <a:gd name="connsiteX10" fmla="*/ 133350 w 133350"/>
                <a:gd name="connsiteY10" fmla="*/ 187262 h 220313"/>
                <a:gd name="connsiteX11" fmla="*/ 38290 w 133350"/>
                <a:gd name="connsiteY11" fmla="*/ 187262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3350" h="220313">
                  <a:moveTo>
                    <a:pt x="38290" y="122301"/>
                  </a:moveTo>
                  <a:lnTo>
                    <a:pt x="115824" y="122301"/>
                  </a:lnTo>
                  <a:lnTo>
                    <a:pt x="115824" y="89249"/>
                  </a:lnTo>
                  <a:lnTo>
                    <a:pt x="38290" y="89249"/>
                  </a:lnTo>
                  <a:lnTo>
                    <a:pt x="38290" y="33052"/>
                  </a:lnTo>
                  <a:lnTo>
                    <a:pt x="130016" y="33052"/>
                  </a:lnTo>
                  <a:lnTo>
                    <a:pt x="130016" y="0"/>
                  </a:lnTo>
                  <a:lnTo>
                    <a:pt x="0" y="0"/>
                  </a:lnTo>
                  <a:lnTo>
                    <a:pt x="0" y="220313"/>
                  </a:lnTo>
                  <a:lnTo>
                    <a:pt x="133350" y="220313"/>
                  </a:lnTo>
                  <a:lnTo>
                    <a:pt x="133350" y="187262"/>
                  </a:lnTo>
                  <a:lnTo>
                    <a:pt x="38290" y="1872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Vrije vorm: vorm 16">
              <a:extLst>
                <a:ext uri="{FF2B5EF4-FFF2-40B4-BE49-F238E27FC236}">
                  <a16:creationId xmlns:a16="http://schemas.microsoft.com/office/drawing/2014/main" id="{743F0E5F-A0B0-4FE2-9AF7-B8AF6786AD54}"/>
                </a:ext>
              </a:extLst>
            </p:cNvPr>
            <p:cNvSpPr/>
            <p:nvPr/>
          </p:nvSpPr>
          <p:spPr>
            <a:xfrm>
              <a:off x="5799581" y="3315938"/>
              <a:ext cx="160781" cy="220218"/>
            </a:xfrm>
            <a:custGeom>
              <a:avLst/>
              <a:gdLst>
                <a:gd name="connsiteX0" fmla="*/ 152209 w 160781"/>
                <a:gd name="connsiteY0" fmla="*/ 65341 h 220218"/>
                <a:gd name="connsiteX1" fmla="*/ 72961 w 160781"/>
                <a:gd name="connsiteY1" fmla="*/ 0 h 220218"/>
                <a:gd name="connsiteX2" fmla="*/ 0 w 160781"/>
                <a:gd name="connsiteY2" fmla="*/ 0 h 220218"/>
                <a:gd name="connsiteX3" fmla="*/ 0 w 160781"/>
                <a:gd name="connsiteY3" fmla="*/ 220218 h 220218"/>
                <a:gd name="connsiteX4" fmla="*/ 38290 w 160781"/>
                <a:gd name="connsiteY4" fmla="*/ 220218 h 220218"/>
                <a:gd name="connsiteX5" fmla="*/ 38290 w 160781"/>
                <a:gd name="connsiteY5" fmla="*/ 134017 h 220218"/>
                <a:gd name="connsiteX6" fmla="*/ 71342 w 160781"/>
                <a:gd name="connsiteY6" fmla="*/ 134017 h 220218"/>
                <a:gd name="connsiteX7" fmla="*/ 117919 w 160781"/>
                <a:gd name="connsiteY7" fmla="*/ 220218 h 220218"/>
                <a:gd name="connsiteX8" fmla="*/ 160782 w 160781"/>
                <a:gd name="connsiteY8" fmla="*/ 220218 h 220218"/>
                <a:gd name="connsiteX9" fmla="*/ 109252 w 160781"/>
                <a:gd name="connsiteY9" fmla="*/ 128302 h 220218"/>
                <a:gd name="connsiteX10" fmla="*/ 152209 w 160781"/>
                <a:gd name="connsiteY10" fmla="*/ 65341 h 220218"/>
                <a:gd name="connsiteX11" fmla="*/ 69056 w 160781"/>
                <a:gd name="connsiteY11" fmla="*/ 103061 h 220218"/>
                <a:gd name="connsiteX12" fmla="*/ 38386 w 160781"/>
                <a:gd name="connsiteY12" fmla="*/ 103061 h 220218"/>
                <a:gd name="connsiteX13" fmla="*/ 38386 w 160781"/>
                <a:gd name="connsiteY13" fmla="*/ 31337 h 220218"/>
                <a:gd name="connsiteX14" fmla="*/ 69056 w 160781"/>
                <a:gd name="connsiteY14" fmla="*/ 31337 h 220218"/>
                <a:gd name="connsiteX15" fmla="*/ 114586 w 160781"/>
                <a:gd name="connsiteY15" fmla="*/ 65341 h 220218"/>
                <a:gd name="connsiteX16" fmla="*/ 69056 w 160781"/>
                <a:gd name="connsiteY16" fmla="*/ 103061 h 220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60781" h="220218">
                  <a:moveTo>
                    <a:pt x="152209" y="65341"/>
                  </a:moveTo>
                  <a:cubicBezTo>
                    <a:pt x="152209" y="16193"/>
                    <a:pt x="117919" y="0"/>
                    <a:pt x="72961" y="0"/>
                  </a:cubicBezTo>
                  <a:lnTo>
                    <a:pt x="0" y="0"/>
                  </a:lnTo>
                  <a:lnTo>
                    <a:pt x="0" y="220218"/>
                  </a:lnTo>
                  <a:lnTo>
                    <a:pt x="38290" y="220218"/>
                  </a:lnTo>
                  <a:lnTo>
                    <a:pt x="38290" y="134017"/>
                  </a:lnTo>
                  <a:lnTo>
                    <a:pt x="71342" y="134017"/>
                  </a:lnTo>
                  <a:lnTo>
                    <a:pt x="117919" y="220218"/>
                  </a:lnTo>
                  <a:lnTo>
                    <a:pt x="160782" y="220218"/>
                  </a:lnTo>
                  <a:lnTo>
                    <a:pt x="109252" y="128302"/>
                  </a:lnTo>
                  <a:cubicBezTo>
                    <a:pt x="135064" y="119253"/>
                    <a:pt x="152209" y="99060"/>
                    <a:pt x="152209" y="65341"/>
                  </a:cubicBezTo>
                  <a:close/>
                  <a:moveTo>
                    <a:pt x="69056" y="103061"/>
                  </a:moveTo>
                  <a:lnTo>
                    <a:pt x="38386" y="103061"/>
                  </a:lnTo>
                  <a:lnTo>
                    <a:pt x="38386" y="31337"/>
                  </a:lnTo>
                  <a:lnTo>
                    <a:pt x="69056" y="31337"/>
                  </a:lnTo>
                  <a:cubicBezTo>
                    <a:pt x="98393" y="31337"/>
                    <a:pt x="114586" y="40100"/>
                    <a:pt x="114586" y="65341"/>
                  </a:cubicBezTo>
                  <a:cubicBezTo>
                    <a:pt x="114586" y="90297"/>
                    <a:pt x="98393" y="103061"/>
                    <a:pt x="69056" y="1030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Vrije vorm: vorm 17">
              <a:extLst>
                <a:ext uri="{FF2B5EF4-FFF2-40B4-BE49-F238E27FC236}">
                  <a16:creationId xmlns:a16="http://schemas.microsoft.com/office/drawing/2014/main" id="{5669B54D-F4A1-4BB1-A570-5B4934AC9D56}"/>
                </a:ext>
              </a:extLst>
            </p:cNvPr>
            <p:cNvSpPr/>
            <p:nvPr/>
          </p:nvSpPr>
          <p:spPr>
            <a:xfrm>
              <a:off x="5998273" y="3315938"/>
              <a:ext cx="191166" cy="220313"/>
            </a:xfrm>
            <a:custGeom>
              <a:avLst/>
              <a:gdLst>
                <a:gd name="connsiteX0" fmla="*/ 110300 w 191166"/>
                <a:gd name="connsiteY0" fmla="*/ 107823 h 220313"/>
                <a:gd name="connsiteX1" fmla="*/ 96774 w 191166"/>
                <a:gd name="connsiteY1" fmla="*/ 150971 h 220313"/>
                <a:gd name="connsiteX2" fmla="*/ 95440 w 191166"/>
                <a:gd name="connsiteY2" fmla="*/ 150971 h 220313"/>
                <a:gd name="connsiteX3" fmla="*/ 81534 w 191166"/>
                <a:gd name="connsiteY3" fmla="*/ 107823 h 220313"/>
                <a:gd name="connsiteX4" fmla="*/ 43243 w 191166"/>
                <a:gd name="connsiteY4" fmla="*/ 95 h 220313"/>
                <a:gd name="connsiteX5" fmla="*/ 0 w 191166"/>
                <a:gd name="connsiteY5" fmla="*/ 95 h 220313"/>
                <a:gd name="connsiteX6" fmla="*/ 0 w 191166"/>
                <a:gd name="connsiteY6" fmla="*/ 220313 h 220313"/>
                <a:gd name="connsiteX7" fmla="*/ 34671 w 191166"/>
                <a:gd name="connsiteY7" fmla="*/ 220313 h 220313"/>
                <a:gd name="connsiteX8" fmla="*/ 34671 w 191166"/>
                <a:gd name="connsiteY8" fmla="*/ 119634 h 220313"/>
                <a:gd name="connsiteX9" fmla="*/ 29718 w 191166"/>
                <a:gd name="connsiteY9" fmla="*/ 49625 h 220313"/>
                <a:gd name="connsiteX10" fmla="*/ 31051 w 191166"/>
                <a:gd name="connsiteY10" fmla="*/ 49625 h 220313"/>
                <a:gd name="connsiteX11" fmla="*/ 48196 w 191166"/>
                <a:gd name="connsiteY11" fmla="*/ 100775 h 220313"/>
                <a:gd name="connsiteX12" fmla="*/ 83820 w 191166"/>
                <a:gd name="connsiteY12" fmla="*/ 199739 h 220313"/>
                <a:gd name="connsiteX13" fmla="*/ 106585 w 191166"/>
                <a:gd name="connsiteY13" fmla="*/ 199739 h 220313"/>
                <a:gd name="connsiteX14" fmla="*/ 141922 w 191166"/>
                <a:gd name="connsiteY14" fmla="*/ 100775 h 220313"/>
                <a:gd name="connsiteX15" fmla="*/ 159448 w 191166"/>
                <a:gd name="connsiteY15" fmla="*/ 49625 h 220313"/>
                <a:gd name="connsiteX16" fmla="*/ 160782 w 191166"/>
                <a:gd name="connsiteY16" fmla="*/ 49625 h 220313"/>
                <a:gd name="connsiteX17" fmla="*/ 155829 w 191166"/>
                <a:gd name="connsiteY17" fmla="*/ 119634 h 220313"/>
                <a:gd name="connsiteX18" fmla="*/ 155829 w 191166"/>
                <a:gd name="connsiteY18" fmla="*/ 220313 h 220313"/>
                <a:gd name="connsiteX19" fmla="*/ 191167 w 191166"/>
                <a:gd name="connsiteY19" fmla="*/ 220313 h 220313"/>
                <a:gd name="connsiteX20" fmla="*/ 191167 w 191166"/>
                <a:gd name="connsiteY20" fmla="*/ 0 h 220313"/>
                <a:gd name="connsiteX21" fmla="*/ 147638 w 191166"/>
                <a:gd name="connsiteY21" fmla="*/ 0 h 220313"/>
                <a:gd name="connsiteX22" fmla="*/ 110300 w 191166"/>
                <a:gd name="connsiteY22" fmla="*/ 107823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1166" h="220313">
                  <a:moveTo>
                    <a:pt x="110300" y="107823"/>
                  </a:moveTo>
                  <a:cubicBezTo>
                    <a:pt x="105632" y="121634"/>
                    <a:pt x="101346" y="136493"/>
                    <a:pt x="96774" y="150971"/>
                  </a:cubicBezTo>
                  <a:lnTo>
                    <a:pt x="95440" y="150971"/>
                  </a:lnTo>
                  <a:cubicBezTo>
                    <a:pt x="90868" y="136493"/>
                    <a:pt x="86201" y="121634"/>
                    <a:pt x="81534" y="107823"/>
                  </a:cubicBezTo>
                  <a:lnTo>
                    <a:pt x="43243" y="95"/>
                  </a:lnTo>
                  <a:lnTo>
                    <a:pt x="0" y="95"/>
                  </a:lnTo>
                  <a:lnTo>
                    <a:pt x="0" y="220313"/>
                  </a:lnTo>
                  <a:lnTo>
                    <a:pt x="34671" y="220313"/>
                  </a:lnTo>
                  <a:lnTo>
                    <a:pt x="34671" y="119634"/>
                  </a:lnTo>
                  <a:cubicBezTo>
                    <a:pt x="34671" y="99060"/>
                    <a:pt x="31337" y="69818"/>
                    <a:pt x="29718" y="49625"/>
                  </a:cubicBezTo>
                  <a:lnTo>
                    <a:pt x="31051" y="49625"/>
                  </a:lnTo>
                  <a:lnTo>
                    <a:pt x="48196" y="100775"/>
                  </a:lnTo>
                  <a:lnTo>
                    <a:pt x="83820" y="199739"/>
                  </a:lnTo>
                  <a:lnTo>
                    <a:pt x="106585" y="199739"/>
                  </a:lnTo>
                  <a:lnTo>
                    <a:pt x="141922" y="100775"/>
                  </a:lnTo>
                  <a:lnTo>
                    <a:pt x="159448" y="49625"/>
                  </a:lnTo>
                  <a:lnTo>
                    <a:pt x="160782" y="49625"/>
                  </a:lnTo>
                  <a:cubicBezTo>
                    <a:pt x="158782" y="69818"/>
                    <a:pt x="155829" y="99155"/>
                    <a:pt x="155829" y="119634"/>
                  </a:cubicBezTo>
                  <a:lnTo>
                    <a:pt x="155829" y="220313"/>
                  </a:lnTo>
                  <a:lnTo>
                    <a:pt x="191167" y="220313"/>
                  </a:lnTo>
                  <a:lnTo>
                    <a:pt x="191167" y="0"/>
                  </a:lnTo>
                  <a:lnTo>
                    <a:pt x="147638" y="0"/>
                  </a:lnTo>
                  <a:lnTo>
                    <a:pt x="110300" y="1078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Vrije vorm: vorm 18">
              <a:extLst>
                <a:ext uri="{FF2B5EF4-FFF2-40B4-BE49-F238E27FC236}">
                  <a16:creationId xmlns:a16="http://schemas.microsoft.com/office/drawing/2014/main" id="{D81888FF-0670-497F-B6DD-1EF7C646F8DC}"/>
                </a:ext>
              </a:extLst>
            </p:cNvPr>
            <p:cNvSpPr/>
            <p:nvPr/>
          </p:nvSpPr>
          <p:spPr>
            <a:xfrm>
              <a:off x="6247256" y="3315938"/>
              <a:ext cx="133350" cy="220313"/>
            </a:xfrm>
            <a:custGeom>
              <a:avLst/>
              <a:gdLst>
                <a:gd name="connsiteX0" fmla="*/ 38290 w 133350"/>
                <a:gd name="connsiteY0" fmla="*/ 122301 h 220313"/>
                <a:gd name="connsiteX1" fmla="*/ 115824 w 133350"/>
                <a:gd name="connsiteY1" fmla="*/ 122301 h 220313"/>
                <a:gd name="connsiteX2" fmla="*/ 115824 w 133350"/>
                <a:gd name="connsiteY2" fmla="*/ 89249 h 220313"/>
                <a:gd name="connsiteX3" fmla="*/ 38290 w 133350"/>
                <a:gd name="connsiteY3" fmla="*/ 89249 h 220313"/>
                <a:gd name="connsiteX4" fmla="*/ 38290 w 133350"/>
                <a:gd name="connsiteY4" fmla="*/ 33052 h 220313"/>
                <a:gd name="connsiteX5" fmla="*/ 130111 w 133350"/>
                <a:gd name="connsiteY5" fmla="*/ 33052 h 220313"/>
                <a:gd name="connsiteX6" fmla="*/ 130111 w 133350"/>
                <a:gd name="connsiteY6" fmla="*/ 0 h 220313"/>
                <a:gd name="connsiteX7" fmla="*/ 0 w 133350"/>
                <a:gd name="connsiteY7" fmla="*/ 0 h 220313"/>
                <a:gd name="connsiteX8" fmla="*/ 0 w 133350"/>
                <a:gd name="connsiteY8" fmla="*/ 220313 h 220313"/>
                <a:gd name="connsiteX9" fmla="*/ 133350 w 133350"/>
                <a:gd name="connsiteY9" fmla="*/ 220313 h 220313"/>
                <a:gd name="connsiteX10" fmla="*/ 133350 w 133350"/>
                <a:gd name="connsiteY10" fmla="*/ 187262 h 220313"/>
                <a:gd name="connsiteX11" fmla="*/ 38290 w 133350"/>
                <a:gd name="connsiteY11" fmla="*/ 187262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3350" h="220313">
                  <a:moveTo>
                    <a:pt x="38290" y="122301"/>
                  </a:moveTo>
                  <a:lnTo>
                    <a:pt x="115824" y="122301"/>
                  </a:lnTo>
                  <a:lnTo>
                    <a:pt x="115824" y="89249"/>
                  </a:lnTo>
                  <a:lnTo>
                    <a:pt x="38290" y="89249"/>
                  </a:lnTo>
                  <a:lnTo>
                    <a:pt x="38290" y="33052"/>
                  </a:lnTo>
                  <a:lnTo>
                    <a:pt x="130111" y="33052"/>
                  </a:lnTo>
                  <a:lnTo>
                    <a:pt x="130111" y="0"/>
                  </a:lnTo>
                  <a:lnTo>
                    <a:pt x="0" y="0"/>
                  </a:lnTo>
                  <a:lnTo>
                    <a:pt x="0" y="220313"/>
                  </a:lnTo>
                  <a:lnTo>
                    <a:pt x="133350" y="220313"/>
                  </a:lnTo>
                  <a:lnTo>
                    <a:pt x="133350" y="187262"/>
                  </a:lnTo>
                  <a:lnTo>
                    <a:pt x="38290" y="1872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Vrije vorm: vorm 19">
              <a:extLst>
                <a:ext uri="{FF2B5EF4-FFF2-40B4-BE49-F238E27FC236}">
                  <a16:creationId xmlns:a16="http://schemas.microsoft.com/office/drawing/2014/main" id="{64DFBFD3-F622-46EA-8605-C62E180C9815}"/>
                </a:ext>
              </a:extLst>
            </p:cNvPr>
            <p:cNvSpPr/>
            <p:nvPr/>
          </p:nvSpPr>
          <p:spPr>
            <a:xfrm>
              <a:off x="6403085" y="3315938"/>
              <a:ext cx="185546" cy="220313"/>
            </a:xfrm>
            <a:custGeom>
              <a:avLst/>
              <a:gdLst>
                <a:gd name="connsiteX0" fmla="*/ 70294 w 185546"/>
                <a:gd name="connsiteY0" fmla="*/ 0 h 220313"/>
                <a:gd name="connsiteX1" fmla="*/ 0 w 185546"/>
                <a:gd name="connsiteY1" fmla="*/ 220218 h 220313"/>
                <a:gd name="connsiteX2" fmla="*/ 38957 w 185546"/>
                <a:gd name="connsiteY2" fmla="*/ 220218 h 220313"/>
                <a:gd name="connsiteX3" fmla="*/ 55817 w 185546"/>
                <a:gd name="connsiteY3" fmla="*/ 160687 h 220313"/>
                <a:gd name="connsiteX4" fmla="*/ 128397 w 185546"/>
                <a:gd name="connsiteY4" fmla="*/ 160687 h 220313"/>
                <a:gd name="connsiteX5" fmla="*/ 145256 w 185546"/>
                <a:gd name="connsiteY5" fmla="*/ 220313 h 220313"/>
                <a:gd name="connsiteX6" fmla="*/ 185547 w 185546"/>
                <a:gd name="connsiteY6" fmla="*/ 220313 h 220313"/>
                <a:gd name="connsiteX7" fmla="*/ 115252 w 185546"/>
                <a:gd name="connsiteY7" fmla="*/ 95 h 220313"/>
                <a:gd name="connsiteX8" fmla="*/ 70294 w 185546"/>
                <a:gd name="connsiteY8" fmla="*/ 95 h 220313"/>
                <a:gd name="connsiteX9" fmla="*/ 64675 w 185546"/>
                <a:gd name="connsiteY9" fmla="*/ 130016 h 220313"/>
                <a:gd name="connsiteX10" fmla="*/ 72295 w 185546"/>
                <a:gd name="connsiteY10" fmla="*/ 103061 h 220313"/>
                <a:gd name="connsiteX11" fmla="*/ 91440 w 185546"/>
                <a:gd name="connsiteY11" fmla="*/ 30290 h 220313"/>
                <a:gd name="connsiteX12" fmla="*/ 92773 w 185546"/>
                <a:gd name="connsiteY12" fmla="*/ 30290 h 220313"/>
                <a:gd name="connsiteX13" fmla="*/ 112204 w 185546"/>
                <a:gd name="connsiteY13" fmla="*/ 103061 h 220313"/>
                <a:gd name="connsiteX14" fmla="*/ 119825 w 185546"/>
                <a:gd name="connsiteY14" fmla="*/ 130016 h 220313"/>
                <a:gd name="connsiteX15" fmla="*/ 64675 w 185546"/>
                <a:gd name="connsiteY15" fmla="*/ 130016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5546" h="220313">
                  <a:moveTo>
                    <a:pt x="70294" y="0"/>
                  </a:moveTo>
                  <a:lnTo>
                    <a:pt x="0" y="220218"/>
                  </a:lnTo>
                  <a:lnTo>
                    <a:pt x="38957" y="220218"/>
                  </a:lnTo>
                  <a:lnTo>
                    <a:pt x="55817" y="160687"/>
                  </a:lnTo>
                  <a:lnTo>
                    <a:pt x="128397" y="160687"/>
                  </a:lnTo>
                  <a:lnTo>
                    <a:pt x="145256" y="220313"/>
                  </a:lnTo>
                  <a:lnTo>
                    <a:pt x="185547" y="220313"/>
                  </a:lnTo>
                  <a:lnTo>
                    <a:pt x="115252" y="95"/>
                  </a:lnTo>
                  <a:lnTo>
                    <a:pt x="70294" y="95"/>
                  </a:lnTo>
                  <a:close/>
                  <a:moveTo>
                    <a:pt x="64675" y="130016"/>
                  </a:moveTo>
                  <a:lnTo>
                    <a:pt x="72295" y="103061"/>
                  </a:lnTo>
                  <a:cubicBezTo>
                    <a:pt x="79248" y="79820"/>
                    <a:pt x="85534" y="54864"/>
                    <a:pt x="91440" y="30290"/>
                  </a:cubicBezTo>
                  <a:lnTo>
                    <a:pt x="92773" y="30290"/>
                  </a:lnTo>
                  <a:cubicBezTo>
                    <a:pt x="99060" y="54578"/>
                    <a:pt x="105346" y="79820"/>
                    <a:pt x="112204" y="103061"/>
                  </a:cubicBezTo>
                  <a:lnTo>
                    <a:pt x="119825" y="130016"/>
                  </a:lnTo>
                  <a:lnTo>
                    <a:pt x="64675" y="1300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Vrije vorm: vorm 20">
              <a:extLst>
                <a:ext uri="{FF2B5EF4-FFF2-40B4-BE49-F238E27FC236}">
                  <a16:creationId xmlns:a16="http://schemas.microsoft.com/office/drawing/2014/main" id="{263DB2C3-D95B-44E2-8335-8A8F4B9CD3B1}"/>
                </a:ext>
              </a:extLst>
            </p:cNvPr>
            <p:cNvSpPr/>
            <p:nvPr/>
          </p:nvSpPr>
          <p:spPr>
            <a:xfrm>
              <a:off x="6668261" y="3314700"/>
              <a:ext cx="157733" cy="225456"/>
            </a:xfrm>
            <a:custGeom>
              <a:avLst/>
              <a:gdLst>
                <a:gd name="connsiteX0" fmla="*/ 91059 w 157733"/>
                <a:gd name="connsiteY0" fmla="*/ 127445 h 225456"/>
                <a:gd name="connsiteX1" fmla="*/ 143256 w 157733"/>
                <a:gd name="connsiteY1" fmla="*/ 127445 h 225456"/>
                <a:gd name="connsiteX2" fmla="*/ 143256 w 157733"/>
                <a:gd name="connsiteY2" fmla="*/ 195167 h 225456"/>
                <a:gd name="connsiteX3" fmla="*/ 122301 w 157733"/>
                <a:gd name="connsiteY3" fmla="*/ 207359 h 225456"/>
                <a:gd name="connsiteX4" fmla="*/ 94393 w 157733"/>
                <a:gd name="connsiteY4" fmla="*/ 211646 h 225456"/>
                <a:gd name="connsiteX5" fmla="*/ 61246 w 157733"/>
                <a:gd name="connsiteY5" fmla="*/ 204502 h 225456"/>
                <a:gd name="connsiteX6" fmla="*/ 36481 w 157733"/>
                <a:gd name="connsiteY6" fmla="*/ 184499 h 225456"/>
                <a:gd name="connsiteX7" fmla="*/ 21146 w 157733"/>
                <a:gd name="connsiteY7" fmla="*/ 153257 h 225456"/>
                <a:gd name="connsiteX8" fmla="*/ 15907 w 157733"/>
                <a:gd name="connsiteY8" fmla="*/ 112205 h 225456"/>
                <a:gd name="connsiteX9" fmla="*/ 21526 w 157733"/>
                <a:gd name="connsiteY9" fmla="*/ 71247 h 225456"/>
                <a:gd name="connsiteX10" fmla="*/ 37529 w 157733"/>
                <a:gd name="connsiteY10" fmla="*/ 40386 h 225456"/>
                <a:gd name="connsiteX11" fmla="*/ 62770 w 157733"/>
                <a:gd name="connsiteY11" fmla="*/ 20765 h 225456"/>
                <a:gd name="connsiteX12" fmla="*/ 96488 w 157733"/>
                <a:gd name="connsiteY12" fmla="*/ 13811 h 225456"/>
                <a:gd name="connsiteX13" fmla="*/ 126206 w 157733"/>
                <a:gd name="connsiteY13" fmla="*/ 20384 h 225456"/>
                <a:gd name="connsiteX14" fmla="*/ 146685 w 157733"/>
                <a:gd name="connsiteY14" fmla="*/ 36195 h 225456"/>
                <a:gd name="connsiteX15" fmla="*/ 155638 w 157733"/>
                <a:gd name="connsiteY15" fmla="*/ 26003 h 225456"/>
                <a:gd name="connsiteX16" fmla="*/ 145542 w 157733"/>
                <a:gd name="connsiteY16" fmla="*/ 16764 h 225456"/>
                <a:gd name="connsiteX17" fmla="*/ 132493 w 157733"/>
                <a:gd name="connsiteY17" fmla="*/ 8382 h 225456"/>
                <a:gd name="connsiteX18" fmla="*/ 116110 w 157733"/>
                <a:gd name="connsiteY18" fmla="*/ 2286 h 225456"/>
                <a:gd name="connsiteX19" fmla="*/ 96107 w 157733"/>
                <a:gd name="connsiteY19" fmla="*/ 0 h 225456"/>
                <a:gd name="connsiteX20" fmla="*/ 56769 w 157733"/>
                <a:gd name="connsiteY20" fmla="*/ 7715 h 225456"/>
                <a:gd name="connsiteX21" fmla="*/ 26384 w 157733"/>
                <a:gd name="connsiteY21" fmla="*/ 30194 h 225456"/>
                <a:gd name="connsiteX22" fmla="*/ 6953 w 157733"/>
                <a:gd name="connsiteY22" fmla="*/ 65723 h 225456"/>
                <a:gd name="connsiteX23" fmla="*/ 0 w 157733"/>
                <a:gd name="connsiteY23" fmla="*/ 112300 h 225456"/>
                <a:gd name="connsiteX24" fmla="*/ 6763 w 157733"/>
                <a:gd name="connsiteY24" fmla="*/ 159353 h 225456"/>
                <a:gd name="connsiteX25" fmla="*/ 25717 w 157733"/>
                <a:gd name="connsiteY25" fmla="*/ 194977 h 225456"/>
                <a:gd name="connsiteX26" fmla="*/ 55054 w 157733"/>
                <a:gd name="connsiteY26" fmla="*/ 217551 h 225456"/>
                <a:gd name="connsiteX27" fmla="*/ 93345 w 157733"/>
                <a:gd name="connsiteY27" fmla="*/ 225457 h 225456"/>
                <a:gd name="connsiteX28" fmla="*/ 131159 w 157733"/>
                <a:gd name="connsiteY28" fmla="*/ 218504 h 225456"/>
                <a:gd name="connsiteX29" fmla="*/ 157734 w 157733"/>
                <a:gd name="connsiteY29" fmla="*/ 200692 h 225456"/>
                <a:gd name="connsiteX30" fmla="*/ 157734 w 157733"/>
                <a:gd name="connsiteY30" fmla="*/ 114491 h 225456"/>
                <a:gd name="connsiteX31" fmla="*/ 91059 w 157733"/>
                <a:gd name="connsiteY31" fmla="*/ 114491 h 225456"/>
                <a:gd name="connsiteX32" fmla="*/ 91059 w 157733"/>
                <a:gd name="connsiteY32" fmla="*/ 127445 h 225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57733" h="225456">
                  <a:moveTo>
                    <a:pt x="91059" y="127445"/>
                  </a:moveTo>
                  <a:lnTo>
                    <a:pt x="143256" y="127445"/>
                  </a:lnTo>
                  <a:lnTo>
                    <a:pt x="143256" y="195167"/>
                  </a:lnTo>
                  <a:cubicBezTo>
                    <a:pt x="138017" y="200406"/>
                    <a:pt x="130969" y="204502"/>
                    <a:pt x="122301" y="207359"/>
                  </a:cubicBezTo>
                  <a:cubicBezTo>
                    <a:pt x="113633" y="210217"/>
                    <a:pt x="104299" y="211646"/>
                    <a:pt x="94393" y="211646"/>
                  </a:cubicBezTo>
                  <a:cubicBezTo>
                    <a:pt x="82105" y="211646"/>
                    <a:pt x="70961" y="209264"/>
                    <a:pt x="61246" y="204502"/>
                  </a:cubicBezTo>
                  <a:cubicBezTo>
                    <a:pt x="51435" y="199739"/>
                    <a:pt x="43243" y="193072"/>
                    <a:pt x="36481" y="184499"/>
                  </a:cubicBezTo>
                  <a:cubicBezTo>
                    <a:pt x="29718" y="175927"/>
                    <a:pt x="24670" y="165544"/>
                    <a:pt x="21146" y="153257"/>
                  </a:cubicBezTo>
                  <a:cubicBezTo>
                    <a:pt x="17621" y="141065"/>
                    <a:pt x="15907" y="127349"/>
                    <a:pt x="15907" y="112205"/>
                  </a:cubicBezTo>
                  <a:cubicBezTo>
                    <a:pt x="15907" y="97060"/>
                    <a:pt x="17812" y="83344"/>
                    <a:pt x="21526" y="71247"/>
                  </a:cubicBezTo>
                  <a:cubicBezTo>
                    <a:pt x="25241" y="59150"/>
                    <a:pt x="30575" y="48863"/>
                    <a:pt x="37529" y="40386"/>
                  </a:cubicBezTo>
                  <a:cubicBezTo>
                    <a:pt x="44482" y="31909"/>
                    <a:pt x="52864" y="25337"/>
                    <a:pt x="62770" y="20765"/>
                  </a:cubicBezTo>
                  <a:cubicBezTo>
                    <a:pt x="72676" y="16097"/>
                    <a:pt x="83915" y="13811"/>
                    <a:pt x="96488" y="13811"/>
                  </a:cubicBezTo>
                  <a:cubicBezTo>
                    <a:pt x="108395" y="13811"/>
                    <a:pt x="118300" y="16002"/>
                    <a:pt x="126206" y="20384"/>
                  </a:cubicBezTo>
                  <a:cubicBezTo>
                    <a:pt x="134112" y="24765"/>
                    <a:pt x="140970" y="30099"/>
                    <a:pt x="146685" y="36195"/>
                  </a:cubicBezTo>
                  <a:lnTo>
                    <a:pt x="155638" y="26003"/>
                  </a:lnTo>
                  <a:cubicBezTo>
                    <a:pt x="152781" y="22955"/>
                    <a:pt x="149447" y="19812"/>
                    <a:pt x="145542" y="16764"/>
                  </a:cubicBezTo>
                  <a:cubicBezTo>
                    <a:pt x="141637" y="13716"/>
                    <a:pt x="137350" y="10859"/>
                    <a:pt x="132493" y="8382"/>
                  </a:cubicBezTo>
                  <a:cubicBezTo>
                    <a:pt x="127635" y="5810"/>
                    <a:pt x="122206" y="3810"/>
                    <a:pt x="116110" y="2286"/>
                  </a:cubicBezTo>
                  <a:cubicBezTo>
                    <a:pt x="110014" y="762"/>
                    <a:pt x="103442" y="0"/>
                    <a:pt x="96107" y="0"/>
                  </a:cubicBezTo>
                  <a:cubicBezTo>
                    <a:pt x="81820" y="0"/>
                    <a:pt x="68675" y="2572"/>
                    <a:pt x="56769" y="7715"/>
                  </a:cubicBezTo>
                  <a:cubicBezTo>
                    <a:pt x="44863" y="12859"/>
                    <a:pt x="34766" y="20384"/>
                    <a:pt x="26384" y="30194"/>
                  </a:cubicBezTo>
                  <a:cubicBezTo>
                    <a:pt x="18002" y="40005"/>
                    <a:pt x="11525" y="51816"/>
                    <a:pt x="6953" y="65723"/>
                  </a:cubicBezTo>
                  <a:cubicBezTo>
                    <a:pt x="2381" y="79629"/>
                    <a:pt x="0" y="95059"/>
                    <a:pt x="0" y="112300"/>
                  </a:cubicBezTo>
                  <a:cubicBezTo>
                    <a:pt x="0" y="129731"/>
                    <a:pt x="2286" y="145352"/>
                    <a:pt x="6763" y="159353"/>
                  </a:cubicBezTo>
                  <a:cubicBezTo>
                    <a:pt x="11239" y="173355"/>
                    <a:pt x="17621" y="185261"/>
                    <a:pt x="25717" y="194977"/>
                  </a:cubicBezTo>
                  <a:cubicBezTo>
                    <a:pt x="33814" y="204788"/>
                    <a:pt x="43625" y="212312"/>
                    <a:pt x="55054" y="217551"/>
                  </a:cubicBezTo>
                  <a:cubicBezTo>
                    <a:pt x="66484" y="222790"/>
                    <a:pt x="79248" y="225457"/>
                    <a:pt x="93345" y="225457"/>
                  </a:cubicBezTo>
                  <a:cubicBezTo>
                    <a:pt x="107633" y="225457"/>
                    <a:pt x="120205" y="223171"/>
                    <a:pt x="131159" y="218504"/>
                  </a:cubicBezTo>
                  <a:cubicBezTo>
                    <a:pt x="142018" y="213836"/>
                    <a:pt x="150876" y="207931"/>
                    <a:pt x="157734" y="200692"/>
                  </a:cubicBezTo>
                  <a:lnTo>
                    <a:pt x="157734" y="114491"/>
                  </a:lnTo>
                  <a:lnTo>
                    <a:pt x="91059" y="114491"/>
                  </a:lnTo>
                  <a:lnTo>
                    <a:pt x="91059" y="1274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Vrije vorm: vorm 21">
              <a:extLst>
                <a:ext uri="{FF2B5EF4-FFF2-40B4-BE49-F238E27FC236}">
                  <a16:creationId xmlns:a16="http://schemas.microsoft.com/office/drawing/2014/main" id="{F352A17B-7AC1-4A99-AD87-A407C40B6AF2}"/>
                </a:ext>
              </a:extLst>
            </p:cNvPr>
            <p:cNvSpPr/>
            <p:nvPr/>
          </p:nvSpPr>
          <p:spPr>
            <a:xfrm>
              <a:off x="6884764" y="3318605"/>
              <a:ext cx="137922" cy="217551"/>
            </a:xfrm>
            <a:custGeom>
              <a:avLst/>
              <a:gdLst>
                <a:gd name="connsiteX0" fmla="*/ 118681 w 137922"/>
                <a:gd name="connsiteY0" fmla="*/ 98393 h 217551"/>
                <a:gd name="connsiteX1" fmla="*/ 133731 w 137922"/>
                <a:gd name="connsiteY1" fmla="*/ 57436 h 217551"/>
                <a:gd name="connsiteX2" fmla="*/ 128588 w 137922"/>
                <a:gd name="connsiteY2" fmla="*/ 31052 h 217551"/>
                <a:gd name="connsiteX3" fmla="*/ 114205 w 137922"/>
                <a:gd name="connsiteY3" fmla="*/ 13240 h 217551"/>
                <a:gd name="connsiteX4" fmla="*/ 91726 w 137922"/>
                <a:gd name="connsiteY4" fmla="*/ 3143 h 217551"/>
                <a:gd name="connsiteX5" fmla="*/ 62389 w 137922"/>
                <a:gd name="connsiteY5" fmla="*/ 0 h 217551"/>
                <a:gd name="connsiteX6" fmla="*/ 0 w 137922"/>
                <a:gd name="connsiteY6" fmla="*/ 0 h 217551"/>
                <a:gd name="connsiteX7" fmla="*/ 0 w 137922"/>
                <a:gd name="connsiteY7" fmla="*/ 217551 h 217551"/>
                <a:gd name="connsiteX8" fmla="*/ 15145 w 137922"/>
                <a:gd name="connsiteY8" fmla="*/ 217551 h 217551"/>
                <a:gd name="connsiteX9" fmla="*/ 15145 w 137922"/>
                <a:gd name="connsiteY9" fmla="*/ 117539 h 217551"/>
                <a:gd name="connsiteX10" fmla="*/ 61341 w 137922"/>
                <a:gd name="connsiteY10" fmla="*/ 117539 h 217551"/>
                <a:gd name="connsiteX11" fmla="*/ 120396 w 137922"/>
                <a:gd name="connsiteY11" fmla="*/ 217551 h 217551"/>
                <a:gd name="connsiteX12" fmla="*/ 137922 w 137922"/>
                <a:gd name="connsiteY12" fmla="*/ 217551 h 217551"/>
                <a:gd name="connsiteX13" fmla="*/ 77819 w 137922"/>
                <a:gd name="connsiteY13" fmla="*/ 116491 h 217551"/>
                <a:gd name="connsiteX14" fmla="*/ 118681 w 137922"/>
                <a:gd name="connsiteY14" fmla="*/ 98393 h 217551"/>
                <a:gd name="connsiteX15" fmla="*/ 58388 w 137922"/>
                <a:gd name="connsiteY15" fmla="*/ 105061 h 217551"/>
                <a:gd name="connsiteX16" fmla="*/ 15145 w 137922"/>
                <a:gd name="connsiteY16" fmla="*/ 105061 h 217551"/>
                <a:gd name="connsiteX17" fmla="*/ 15145 w 137922"/>
                <a:gd name="connsiteY17" fmla="*/ 12954 h 217551"/>
                <a:gd name="connsiteX18" fmla="*/ 58388 w 137922"/>
                <a:gd name="connsiteY18" fmla="*/ 12954 h 217551"/>
                <a:gd name="connsiteX19" fmla="*/ 102584 w 137922"/>
                <a:gd name="connsiteY19" fmla="*/ 23051 h 217551"/>
                <a:gd name="connsiteX20" fmla="*/ 118110 w 137922"/>
                <a:gd name="connsiteY20" fmla="*/ 57531 h 217551"/>
                <a:gd name="connsiteX21" fmla="*/ 102775 w 137922"/>
                <a:gd name="connsiteY21" fmla="*/ 93345 h 217551"/>
                <a:gd name="connsiteX22" fmla="*/ 58388 w 137922"/>
                <a:gd name="connsiteY22" fmla="*/ 105061 h 217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7922" h="217551">
                  <a:moveTo>
                    <a:pt x="118681" y="98393"/>
                  </a:moveTo>
                  <a:cubicBezTo>
                    <a:pt x="128683" y="88487"/>
                    <a:pt x="133731" y="74867"/>
                    <a:pt x="133731" y="57436"/>
                  </a:cubicBezTo>
                  <a:cubicBezTo>
                    <a:pt x="133731" y="47054"/>
                    <a:pt x="132017" y="38291"/>
                    <a:pt x="128588" y="31052"/>
                  </a:cubicBezTo>
                  <a:cubicBezTo>
                    <a:pt x="125159" y="23813"/>
                    <a:pt x="120396" y="17812"/>
                    <a:pt x="114205" y="13240"/>
                  </a:cubicBezTo>
                  <a:cubicBezTo>
                    <a:pt x="108013" y="8572"/>
                    <a:pt x="100584" y="5239"/>
                    <a:pt x="91726" y="3143"/>
                  </a:cubicBezTo>
                  <a:cubicBezTo>
                    <a:pt x="82963" y="1048"/>
                    <a:pt x="73152" y="0"/>
                    <a:pt x="62389" y="0"/>
                  </a:cubicBezTo>
                  <a:lnTo>
                    <a:pt x="0" y="0"/>
                  </a:lnTo>
                  <a:lnTo>
                    <a:pt x="0" y="217551"/>
                  </a:lnTo>
                  <a:lnTo>
                    <a:pt x="15145" y="217551"/>
                  </a:lnTo>
                  <a:lnTo>
                    <a:pt x="15145" y="117539"/>
                  </a:lnTo>
                  <a:lnTo>
                    <a:pt x="61341" y="117539"/>
                  </a:lnTo>
                  <a:lnTo>
                    <a:pt x="120396" y="217551"/>
                  </a:lnTo>
                  <a:lnTo>
                    <a:pt x="137922" y="217551"/>
                  </a:lnTo>
                  <a:lnTo>
                    <a:pt x="77819" y="116491"/>
                  </a:lnTo>
                  <a:cubicBezTo>
                    <a:pt x="95059" y="114395"/>
                    <a:pt x="108680" y="108299"/>
                    <a:pt x="118681" y="98393"/>
                  </a:cubicBezTo>
                  <a:close/>
                  <a:moveTo>
                    <a:pt x="58388" y="105061"/>
                  </a:moveTo>
                  <a:lnTo>
                    <a:pt x="15145" y="105061"/>
                  </a:lnTo>
                  <a:lnTo>
                    <a:pt x="15145" y="12954"/>
                  </a:lnTo>
                  <a:lnTo>
                    <a:pt x="58388" y="12954"/>
                  </a:lnTo>
                  <a:cubicBezTo>
                    <a:pt x="77533" y="12954"/>
                    <a:pt x="92297" y="16288"/>
                    <a:pt x="102584" y="23051"/>
                  </a:cubicBezTo>
                  <a:cubicBezTo>
                    <a:pt x="112967" y="29813"/>
                    <a:pt x="118110" y="41243"/>
                    <a:pt x="118110" y="57531"/>
                  </a:cubicBezTo>
                  <a:cubicBezTo>
                    <a:pt x="118110" y="73628"/>
                    <a:pt x="112967" y="85535"/>
                    <a:pt x="102775" y="93345"/>
                  </a:cubicBezTo>
                  <a:cubicBezTo>
                    <a:pt x="92583" y="101156"/>
                    <a:pt x="77724" y="105061"/>
                    <a:pt x="58388" y="1050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Vrije vorm: vorm 22">
              <a:extLst>
                <a:ext uri="{FF2B5EF4-FFF2-40B4-BE49-F238E27FC236}">
                  <a16:creationId xmlns:a16="http://schemas.microsoft.com/office/drawing/2014/main" id="{0D2708D0-079D-4686-8586-E7F95E24FF8F}"/>
                </a:ext>
              </a:extLst>
            </p:cNvPr>
            <p:cNvSpPr/>
            <p:nvPr/>
          </p:nvSpPr>
          <p:spPr>
            <a:xfrm>
              <a:off x="7053452" y="3314700"/>
              <a:ext cx="179165" cy="225456"/>
            </a:xfrm>
            <a:custGeom>
              <a:avLst/>
              <a:gdLst>
                <a:gd name="connsiteX0" fmla="*/ 154115 w 179165"/>
                <a:gd name="connsiteY0" fmla="*/ 30194 h 225456"/>
                <a:gd name="connsiteX1" fmla="*/ 125730 w 179165"/>
                <a:gd name="connsiteY1" fmla="*/ 7715 h 225456"/>
                <a:gd name="connsiteX2" fmla="*/ 89440 w 179165"/>
                <a:gd name="connsiteY2" fmla="*/ 0 h 225456"/>
                <a:gd name="connsiteX3" fmla="*/ 53435 w 179165"/>
                <a:gd name="connsiteY3" fmla="*/ 7715 h 225456"/>
                <a:gd name="connsiteX4" fmla="*/ 25051 w 179165"/>
                <a:gd name="connsiteY4" fmla="*/ 30194 h 225456"/>
                <a:gd name="connsiteX5" fmla="*/ 6572 w 179165"/>
                <a:gd name="connsiteY5" fmla="*/ 65532 h 225456"/>
                <a:gd name="connsiteX6" fmla="*/ 0 w 179165"/>
                <a:gd name="connsiteY6" fmla="*/ 111919 h 225456"/>
                <a:gd name="connsiteX7" fmla="*/ 6572 w 179165"/>
                <a:gd name="connsiteY7" fmla="*/ 158591 h 225456"/>
                <a:gd name="connsiteX8" fmla="*/ 25051 w 179165"/>
                <a:gd name="connsiteY8" fmla="*/ 194405 h 225456"/>
                <a:gd name="connsiteX9" fmla="*/ 53435 w 179165"/>
                <a:gd name="connsiteY9" fmla="*/ 217361 h 225456"/>
                <a:gd name="connsiteX10" fmla="*/ 89440 w 179165"/>
                <a:gd name="connsiteY10" fmla="*/ 225457 h 225456"/>
                <a:gd name="connsiteX11" fmla="*/ 125730 w 179165"/>
                <a:gd name="connsiteY11" fmla="*/ 217361 h 225456"/>
                <a:gd name="connsiteX12" fmla="*/ 154115 w 179165"/>
                <a:gd name="connsiteY12" fmla="*/ 194405 h 225456"/>
                <a:gd name="connsiteX13" fmla="*/ 172593 w 179165"/>
                <a:gd name="connsiteY13" fmla="*/ 158591 h 225456"/>
                <a:gd name="connsiteX14" fmla="*/ 179165 w 179165"/>
                <a:gd name="connsiteY14" fmla="*/ 111919 h 225456"/>
                <a:gd name="connsiteX15" fmla="*/ 172593 w 179165"/>
                <a:gd name="connsiteY15" fmla="*/ 65532 h 225456"/>
                <a:gd name="connsiteX16" fmla="*/ 154115 w 179165"/>
                <a:gd name="connsiteY16" fmla="*/ 30194 h 225456"/>
                <a:gd name="connsiteX17" fmla="*/ 157734 w 179165"/>
                <a:gd name="connsiteY17" fmla="*/ 152972 h 225456"/>
                <a:gd name="connsiteX18" fmla="*/ 142685 w 179165"/>
                <a:gd name="connsiteY18" fmla="*/ 184309 h 225456"/>
                <a:gd name="connsiteX19" fmla="*/ 119444 w 179165"/>
                <a:gd name="connsiteY19" fmla="*/ 204406 h 225456"/>
                <a:gd name="connsiteX20" fmla="*/ 89440 w 179165"/>
                <a:gd name="connsiteY20" fmla="*/ 211550 h 225456"/>
                <a:gd name="connsiteX21" fmla="*/ 59246 w 179165"/>
                <a:gd name="connsiteY21" fmla="*/ 204406 h 225456"/>
                <a:gd name="connsiteX22" fmla="*/ 36004 w 179165"/>
                <a:gd name="connsiteY22" fmla="*/ 184309 h 225456"/>
                <a:gd name="connsiteX23" fmla="*/ 21146 w 179165"/>
                <a:gd name="connsiteY23" fmla="*/ 152972 h 225456"/>
                <a:gd name="connsiteX24" fmla="*/ 15907 w 179165"/>
                <a:gd name="connsiteY24" fmla="*/ 111919 h 225456"/>
                <a:gd name="connsiteX25" fmla="*/ 21146 w 179165"/>
                <a:gd name="connsiteY25" fmla="*/ 71342 h 225456"/>
                <a:gd name="connsiteX26" fmla="*/ 36004 w 179165"/>
                <a:gd name="connsiteY26" fmla="*/ 40481 h 225456"/>
                <a:gd name="connsiteX27" fmla="*/ 59246 w 179165"/>
                <a:gd name="connsiteY27" fmla="*/ 20860 h 225456"/>
                <a:gd name="connsiteX28" fmla="*/ 89440 w 179165"/>
                <a:gd name="connsiteY28" fmla="*/ 13907 h 225456"/>
                <a:gd name="connsiteX29" fmla="*/ 119444 w 179165"/>
                <a:gd name="connsiteY29" fmla="*/ 20860 h 225456"/>
                <a:gd name="connsiteX30" fmla="*/ 142685 w 179165"/>
                <a:gd name="connsiteY30" fmla="*/ 40481 h 225456"/>
                <a:gd name="connsiteX31" fmla="*/ 157734 w 179165"/>
                <a:gd name="connsiteY31" fmla="*/ 71342 h 225456"/>
                <a:gd name="connsiteX32" fmla="*/ 162973 w 179165"/>
                <a:gd name="connsiteY32" fmla="*/ 111919 h 225456"/>
                <a:gd name="connsiteX33" fmla="*/ 157734 w 179165"/>
                <a:gd name="connsiteY33" fmla="*/ 152972 h 225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79165" h="225456">
                  <a:moveTo>
                    <a:pt x="154115" y="30194"/>
                  </a:moveTo>
                  <a:cubicBezTo>
                    <a:pt x="146209" y="20384"/>
                    <a:pt x="136684" y="12954"/>
                    <a:pt x="125730" y="7715"/>
                  </a:cubicBezTo>
                  <a:cubicBezTo>
                    <a:pt x="114776" y="2572"/>
                    <a:pt x="102679" y="0"/>
                    <a:pt x="89440" y="0"/>
                  </a:cubicBezTo>
                  <a:cubicBezTo>
                    <a:pt x="76486" y="0"/>
                    <a:pt x="64484" y="2572"/>
                    <a:pt x="53435" y="7715"/>
                  </a:cubicBezTo>
                  <a:cubicBezTo>
                    <a:pt x="42386" y="12859"/>
                    <a:pt x="32957" y="20384"/>
                    <a:pt x="25051" y="30194"/>
                  </a:cubicBezTo>
                  <a:cubicBezTo>
                    <a:pt x="17145" y="40005"/>
                    <a:pt x="10954" y="51816"/>
                    <a:pt x="6572" y="65532"/>
                  </a:cubicBezTo>
                  <a:cubicBezTo>
                    <a:pt x="2191" y="79248"/>
                    <a:pt x="0" y="94774"/>
                    <a:pt x="0" y="111919"/>
                  </a:cubicBezTo>
                  <a:cubicBezTo>
                    <a:pt x="0" y="129064"/>
                    <a:pt x="2191" y="144685"/>
                    <a:pt x="6572" y="158591"/>
                  </a:cubicBezTo>
                  <a:cubicBezTo>
                    <a:pt x="10954" y="172593"/>
                    <a:pt x="17145" y="184499"/>
                    <a:pt x="25051" y="194405"/>
                  </a:cubicBezTo>
                  <a:cubicBezTo>
                    <a:pt x="32957" y="204311"/>
                    <a:pt x="42482" y="211931"/>
                    <a:pt x="53435" y="217361"/>
                  </a:cubicBezTo>
                  <a:cubicBezTo>
                    <a:pt x="64389" y="222790"/>
                    <a:pt x="76486" y="225457"/>
                    <a:pt x="89440" y="225457"/>
                  </a:cubicBezTo>
                  <a:cubicBezTo>
                    <a:pt x="102679" y="225457"/>
                    <a:pt x="114776" y="222790"/>
                    <a:pt x="125730" y="217361"/>
                  </a:cubicBezTo>
                  <a:cubicBezTo>
                    <a:pt x="136779" y="211931"/>
                    <a:pt x="146209" y="204311"/>
                    <a:pt x="154115" y="194405"/>
                  </a:cubicBezTo>
                  <a:cubicBezTo>
                    <a:pt x="162020" y="184499"/>
                    <a:pt x="168212" y="172593"/>
                    <a:pt x="172593" y="158591"/>
                  </a:cubicBezTo>
                  <a:cubicBezTo>
                    <a:pt x="176975" y="144590"/>
                    <a:pt x="179165" y="129064"/>
                    <a:pt x="179165" y="111919"/>
                  </a:cubicBezTo>
                  <a:cubicBezTo>
                    <a:pt x="179165" y="94774"/>
                    <a:pt x="176975" y="79248"/>
                    <a:pt x="172593" y="65532"/>
                  </a:cubicBezTo>
                  <a:cubicBezTo>
                    <a:pt x="168212" y="51816"/>
                    <a:pt x="162116" y="40005"/>
                    <a:pt x="154115" y="30194"/>
                  </a:cubicBezTo>
                  <a:close/>
                  <a:moveTo>
                    <a:pt x="157734" y="152972"/>
                  </a:moveTo>
                  <a:cubicBezTo>
                    <a:pt x="154210" y="165164"/>
                    <a:pt x="149162" y="175641"/>
                    <a:pt x="142685" y="184309"/>
                  </a:cubicBezTo>
                  <a:cubicBezTo>
                    <a:pt x="136208" y="192977"/>
                    <a:pt x="128397" y="199739"/>
                    <a:pt x="119444" y="204406"/>
                  </a:cubicBezTo>
                  <a:cubicBezTo>
                    <a:pt x="110395" y="209169"/>
                    <a:pt x="100394" y="211550"/>
                    <a:pt x="89440" y="211550"/>
                  </a:cubicBezTo>
                  <a:cubicBezTo>
                    <a:pt x="78486" y="211550"/>
                    <a:pt x="68390" y="209169"/>
                    <a:pt x="59246" y="204406"/>
                  </a:cubicBezTo>
                  <a:cubicBezTo>
                    <a:pt x="50102" y="199644"/>
                    <a:pt x="42386" y="192977"/>
                    <a:pt x="36004" y="184309"/>
                  </a:cubicBezTo>
                  <a:cubicBezTo>
                    <a:pt x="29623" y="175641"/>
                    <a:pt x="24670" y="165164"/>
                    <a:pt x="21146" y="152972"/>
                  </a:cubicBezTo>
                  <a:cubicBezTo>
                    <a:pt x="17621" y="140780"/>
                    <a:pt x="15907" y="127064"/>
                    <a:pt x="15907" y="111919"/>
                  </a:cubicBezTo>
                  <a:cubicBezTo>
                    <a:pt x="15907" y="96965"/>
                    <a:pt x="17621" y="83439"/>
                    <a:pt x="21146" y="71342"/>
                  </a:cubicBezTo>
                  <a:cubicBezTo>
                    <a:pt x="24670" y="59245"/>
                    <a:pt x="29623" y="48959"/>
                    <a:pt x="36004" y="40481"/>
                  </a:cubicBezTo>
                  <a:cubicBezTo>
                    <a:pt x="42386" y="32004"/>
                    <a:pt x="50102" y="25432"/>
                    <a:pt x="59246" y="20860"/>
                  </a:cubicBezTo>
                  <a:cubicBezTo>
                    <a:pt x="68390" y="16193"/>
                    <a:pt x="78486" y="13907"/>
                    <a:pt x="89440" y="13907"/>
                  </a:cubicBezTo>
                  <a:cubicBezTo>
                    <a:pt x="100394" y="13907"/>
                    <a:pt x="110490" y="16193"/>
                    <a:pt x="119444" y="20860"/>
                  </a:cubicBezTo>
                  <a:cubicBezTo>
                    <a:pt x="128492" y="25432"/>
                    <a:pt x="136208" y="32004"/>
                    <a:pt x="142685" y="40481"/>
                  </a:cubicBezTo>
                  <a:cubicBezTo>
                    <a:pt x="149162" y="48959"/>
                    <a:pt x="154210" y="59245"/>
                    <a:pt x="157734" y="71342"/>
                  </a:cubicBezTo>
                  <a:cubicBezTo>
                    <a:pt x="161258" y="83439"/>
                    <a:pt x="162973" y="96965"/>
                    <a:pt x="162973" y="111919"/>
                  </a:cubicBezTo>
                  <a:cubicBezTo>
                    <a:pt x="163068" y="127064"/>
                    <a:pt x="161258" y="140780"/>
                    <a:pt x="157734" y="15297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Vrije vorm: vorm 23">
              <a:extLst>
                <a:ext uri="{FF2B5EF4-FFF2-40B4-BE49-F238E27FC236}">
                  <a16:creationId xmlns:a16="http://schemas.microsoft.com/office/drawing/2014/main" id="{ACE3BA96-6AAD-4EEF-BB39-A9E57BA0ED92}"/>
                </a:ext>
              </a:extLst>
            </p:cNvPr>
            <p:cNvSpPr/>
            <p:nvPr/>
          </p:nvSpPr>
          <p:spPr>
            <a:xfrm>
              <a:off x="7285386" y="3318700"/>
              <a:ext cx="146589" cy="221456"/>
            </a:xfrm>
            <a:custGeom>
              <a:avLst/>
              <a:gdLst>
                <a:gd name="connsiteX0" fmla="*/ 132207 w 146589"/>
                <a:gd name="connsiteY0" fmla="*/ 132302 h 221456"/>
                <a:gd name="connsiteX1" fmla="*/ 127254 w 146589"/>
                <a:gd name="connsiteY1" fmla="*/ 168402 h 221456"/>
                <a:gd name="connsiteX2" fmla="*/ 114205 w 146589"/>
                <a:gd name="connsiteY2" fmla="*/ 191548 h 221456"/>
                <a:gd name="connsiteX3" fmla="*/ 95345 w 146589"/>
                <a:gd name="connsiteY3" fmla="*/ 203930 h 221456"/>
                <a:gd name="connsiteX4" fmla="*/ 72771 w 146589"/>
                <a:gd name="connsiteY4" fmla="*/ 207550 h 221456"/>
                <a:gd name="connsiteX5" fmla="*/ 50863 w 146589"/>
                <a:gd name="connsiteY5" fmla="*/ 203930 h 221456"/>
                <a:gd name="connsiteX6" fmla="*/ 32576 w 146589"/>
                <a:gd name="connsiteY6" fmla="*/ 191548 h 221456"/>
                <a:gd name="connsiteX7" fmla="*/ 19907 w 146589"/>
                <a:gd name="connsiteY7" fmla="*/ 168402 h 221456"/>
                <a:gd name="connsiteX8" fmla="*/ 15145 w 146589"/>
                <a:gd name="connsiteY8" fmla="*/ 132302 h 221456"/>
                <a:gd name="connsiteX9" fmla="*/ 15145 w 146589"/>
                <a:gd name="connsiteY9" fmla="*/ 0 h 221456"/>
                <a:gd name="connsiteX10" fmla="*/ 0 w 146589"/>
                <a:gd name="connsiteY10" fmla="*/ 0 h 221456"/>
                <a:gd name="connsiteX11" fmla="*/ 0 w 146589"/>
                <a:gd name="connsiteY11" fmla="*/ 134017 h 221456"/>
                <a:gd name="connsiteX12" fmla="*/ 6096 w 146589"/>
                <a:gd name="connsiteY12" fmla="*/ 176308 h 221456"/>
                <a:gd name="connsiteX13" fmla="*/ 22479 w 146589"/>
                <a:gd name="connsiteY13" fmla="*/ 203168 h 221456"/>
                <a:gd name="connsiteX14" fmla="*/ 45911 w 146589"/>
                <a:gd name="connsiteY14" fmla="*/ 217361 h 221456"/>
                <a:gd name="connsiteX15" fmla="*/ 72962 w 146589"/>
                <a:gd name="connsiteY15" fmla="*/ 221456 h 221456"/>
                <a:gd name="connsiteX16" fmla="*/ 100394 w 146589"/>
                <a:gd name="connsiteY16" fmla="*/ 217361 h 221456"/>
                <a:gd name="connsiteX17" fmla="*/ 123825 w 146589"/>
                <a:gd name="connsiteY17" fmla="*/ 203168 h 221456"/>
                <a:gd name="connsiteX18" fmla="*/ 140303 w 146589"/>
                <a:gd name="connsiteY18" fmla="*/ 176308 h 221456"/>
                <a:gd name="connsiteX19" fmla="*/ 146590 w 146589"/>
                <a:gd name="connsiteY19" fmla="*/ 134017 h 221456"/>
                <a:gd name="connsiteX20" fmla="*/ 146590 w 146589"/>
                <a:gd name="connsiteY20" fmla="*/ 0 h 221456"/>
                <a:gd name="connsiteX21" fmla="*/ 132397 w 146589"/>
                <a:gd name="connsiteY21" fmla="*/ 0 h 221456"/>
                <a:gd name="connsiteX22" fmla="*/ 132397 w 146589"/>
                <a:gd name="connsiteY22" fmla="*/ 132302 h 22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6589" h="221456">
                  <a:moveTo>
                    <a:pt x="132207" y="132302"/>
                  </a:moveTo>
                  <a:cubicBezTo>
                    <a:pt x="132207" y="146780"/>
                    <a:pt x="130588" y="158877"/>
                    <a:pt x="127254" y="168402"/>
                  </a:cubicBezTo>
                  <a:cubicBezTo>
                    <a:pt x="123920" y="178022"/>
                    <a:pt x="119634" y="185642"/>
                    <a:pt x="114205" y="191548"/>
                  </a:cubicBezTo>
                  <a:cubicBezTo>
                    <a:pt x="108776" y="197358"/>
                    <a:pt x="102584" y="201549"/>
                    <a:pt x="95345" y="203930"/>
                  </a:cubicBezTo>
                  <a:cubicBezTo>
                    <a:pt x="88202" y="206312"/>
                    <a:pt x="80677" y="207550"/>
                    <a:pt x="72771" y="207550"/>
                  </a:cubicBezTo>
                  <a:cubicBezTo>
                    <a:pt x="65056" y="207550"/>
                    <a:pt x="57721" y="206312"/>
                    <a:pt x="50863" y="203930"/>
                  </a:cubicBezTo>
                  <a:cubicBezTo>
                    <a:pt x="43910" y="201549"/>
                    <a:pt x="37814" y="197358"/>
                    <a:pt x="32576" y="191548"/>
                  </a:cubicBezTo>
                  <a:cubicBezTo>
                    <a:pt x="27337" y="185738"/>
                    <a:pt x="23051" y="178022"/>
                    <a:pt x="19907" y="168402"/>
                  </a:cubicBezTo>
                  <a:cubicBezTo>
                    <a:pt x="16764" y="158877"/>
                    <a:pt x="15145" y="146780"/>
                    <a:pt x="15145" y="132302"/>
                  </a:cubicBezTo>
                  <a:lnTo>
                    <a:pt x="15145" y="0"/>
                  </a:lnTo>
                  <a:lnTo>
                    <a:pt x="0" y="0"/>
                  </a:lnTo>
                  <a:lnTo>
                    <a:pt x="0" y="134017"/>
                  </a:lnTo>
                  <a:cubicBezTo>
                    <a:pt x="0" y="150971"/>
                    <a:pt x="2000" y="165068"/>
                    <a:pt x="6096" y="176308"/>
                  </a:cubicBezTo>
                  <a:cubicBezTo>
                    <a:pt x="10192" y="187547"/>
                    <a:pt x="15621" y="196501"/>
                    <a:pt x="22479" y="203168"/>
                  </a:cubicBezTo>
                  <a:cubicBezTo>
                    <a:pt x="29337" y="209931"/>
                    <a:pt x="37147" y="214598"/>
                    <a:pt x="45911" y="217361"/>
                  </a:cubicBezTo>
                  <a:cubicBezTo>
                    <a:pt x="54673" y="220123"/>
                    <a:pt x="63722" y="221456"/>
                    <a:pt x="72962" y="221456"/>
                  </a:cubicBezTo>
                  <a:cubicBezTo>
                    <a:pt x="82391" y="221456"/>
                    <a:pt x="91535" y="220123"/>
                    <a:pt x="100394" y="217361"/>
                  </a:cubicBezTo>
                  <a:cubicBezTo>
                    <a:pt x="109156" y="214598"/>
                    <a:pt x="116967" y="209836"/>
                    <a:pt x="123825" y="203168"/>
                  </a:cubicBezTo>
                  <a:cubicBezTo>
                    <a:pt x="130683" y="196501"/>
                    <a:pt x="136112" y="187452"/>
                    <a:pt x="140303" y="176308"/>
                  </a:cubicBezTo>
                  <a:cubicBezTo>
                    <a:pt x="144494" y="165068"/>
                    <a:pt x="146590" y="150971"/>
                    <a:pt x="146590" y="134017"/>
                  </a:cubicBezTo>
                  <a:lnTo>
                    <a:pt x="146590" y="0"/>
                  </a:lnTo>
                  <a:lnTo>
                    <a:pt x="132397" y="0"/>
                  </a:lnTo>
                  <a:lnTo>
                    <a:pt x="132397" y="13230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Vrije vorm: vorm 24">
              <a:extLst>
                <a:ext uri="{FF2B5EF4-FFF2-40B4-BE49-F238E27FC236}">
                  <a16:creationId xmlns:a16="http://schemas.microsoft.com/office/drawing/2014/main" id="{C8C84D4C-1E2C-4661-8044-30B4F36FBCFC}"/>
                </a:ext>
              </a:extLst>
            </p:cNvPr>
            <p:cNvSpPr/>
            <p:nvPr/>
          </p:nvSpPr>
          <p:spPr>
            <a:xfrm>
              <a:off x="7498460" y="3318605"/>
              <a:ext cx="133731" cy="217551"/>
            </a:xfrm>
            <a:custGeom>
              <a:avLst/>
              <a:gdLst>
                <a:gd name="connsiteX0" fmla="*/ 128207 w 133731"/>
                <a:gd name="connsiteY0" fmla="*/ 32385 h 217551"/>
                <a:gd name="connsiteX1" fmla="*/ 112681 w 133731"/>
                <a:gd name="connsiteY1" fmla="*/ 13526 h 217551"/>
                <a:gd name="connsiteX2" fmla="*/ 87916 w 133731"/>
                <a:gd name="connsiteY2" fmla="*/ 3143 h 217551"/>
                <a:gd name="connsiteX3" fmla="*/ 54769 w 133731"/>
                <a:gd name="connsiteY3" fmla="*/ 0 h 217551"/>
                <a:gd name="connsiteX4" fmla="*/ 0 w 133731"/>
                <a:gd name="connsiteY4" fmla="*/ 0 h 217551"/>
                <a:gd name="connsiteX5" fmla="*/ 0 w 133731"/>
                <a:gd name="connsiteY5" fmla="*/ 217551 h 217551"/>
                <a:gd name="connsiteX6" fmla="*/ 15145 w 133731"/>
                <a:gd name="connsiteY6" fmla="*/ 217551 h 217551"/>
                <a:gd name="connsiteX7" fmla="*/ 15145 w 133731"/>
                <a:gd name="connsiteY7" fmla="*/ 124111 h 217551"/>
                <a:gd name="connsiteX8" fmla="*/ 56102 w 133731"/>
                <a:gd name="connsiteY8" fmla="*/ 124111 h 217551"/>
                <a:gd name="connsiteX9" fmla="*/ 113252 w 133731"/>
                <a:gd name="connsiteY9" fmla="*/ 108395 h 217551"/>
                <a:gd name="connsiteX10" fmla="*/ 133731 w 133731"/>
                <a:gd name="connsiteY10" fmla="*/ 60674 h 217551"/>
                <a:gd name="connsiteX11" fmla="*/ 128207 w 133731"/>
                <a:gd name="connsiteY11" fmla="*/ 32385 h 217551"/>
                <a:gd name="connsiteX12" fmla="*/ 102013 w 133731"/>
                <a:gd name="connsiteY12" fmla="*/ 99441 h 217551"/>
                <a:gd name="connsiteX13" fmla="*/ 52483 w 133731"/>
                <a:gd name="connsiteY13" fmla="*/ 111347 h 217551"/>
                <a:gd name="connsiteX14" fmla="*/ 15145 w 133731"/>
                <a:gd name="connsiteY14" fmla="*/ 111347 h 217551"/>
                <a:gd name="connsiteX15" fmla="*/ 15145 w 133731"/>
                <a:gd name="connsiteY15" fmla="*/ 12954 h 217551"/>
                <a:gd name="connsiteX16" fmla="*/ 51149 w 133731"/>
                <a:gd name="connsiteY16" fmla="*/ 12954 h 217551"/>
                <a:gd name="connsiteX17" fmla="*/ 101537 w 133731"/>
                <a:gd name="connsiteY17" fmla="*/ 23146 h 217551"/>
                <a:gd name="connsiteX18" fmla="*/ 118205 w 133731"/>
                <a:gd name="connsiteY18" fmla="*/ 60770 h 217551"/>
                <a:gd name="connsiteX19" fmla="*/ 102013 w 133731"/>
                <a:gd name="connsiteY19" fmla="*/ 99441 h 217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33731" h="217551">
                  <a:moveTo>
                    <a:pt x="128207" y="32385"/>
                  </a:moveTo>
                  <a:cubicBezTo>
                    <a:pt x="124587" y="24670"/>
                    <a:pt x="119444" y="18383"/>
                    <a:pt x="112681" y="13526"/>
                  </a:cubicBezTo>
                  <a:cubicBezTo>
                    <a:pt x="105918" y="8668"/>
                    <a:pt x="97727" y="5239"/>
                    <a:pt x="87916" y="3143"/>
                  </a:cubicBezTo>
                  <a:cubicBezTo>
                    <a:pt x="78105" y="1048"/>
                    <a:pt x="67056" y="0"/>
                    <a:pt x="54769" y="0"/>
                  </a:cubicBezTo>
                  <a:lnTo>
                    <a:pt x="0" y="0"/>
                  </a:lnTo>
                  <a:lnTo>
                    <a:pt x="0" y="217551"/>
                  </a:lnTo>
                  <a:lnTo>
                    <a:pt x="15145" y="217551"/>
                  </a:lnTo>
                  <a:lnTo>
                    <a:pt x="15145" y="124111"/>
                  </a:lnTo>
                  <a:lnTo>
                    <a:pt x="56102" y="124111"/>
                  </a:lnTo>
                  <a:cubicBezTo>
                    <a:pt x="80486" y="124111"/>
                    <a:pt x="99536" y="118872"/>
                    <a:pt x="113252" y="108395"/>
                  </a:cubicBezTo>
                  <a:cubicBezTo>
                    <a:pt x="126873" y="97917"/>
                    <a:pt x="133731" y="82010"/>
                    <a:pt x="133731" y="60674"/>
                  </a:cubicBezTo>
                  <a:cubicBezTo>
                    <a:pt x="133636" y="49530"/>
                    <a:pt x="131826" y="40100"/>
                    <a:pt x="128207" y="32385"/>
                  </a:cubicBezTo>
                  <a:close/>
                  <a:moveTo>
                    <a:pt x="102013" y="99441"/>
                  </a:moveTo>
                  <a:cubicBezTo>
                    <a:pt x="91250" y="107347"/>
                    <a:pt x="74676" y="111347"/>
                    <a:pt x="52483" y="111347"/>
                  </a:cubicBezTo>
                  <a:lnTo>
                    <a:pt x="15145" y="111347"/>
                  </a:lnTo>
                  <a:lnTo>
                    <a:pt x="15145" y="12954"/>
                  </a:lnTo>
                  <a:lnTo>
                    <a:pt x="51149" y="12954"/>
                  </a:lnTo>
                  <a:cubicBezTo>
                    <a:pt x="73628" y="12954"/>
                    <a:pt x="90392" y="16383"/>
                    <a:pt x="101537" y="23146"/>
                  </a:cubicBezTo>
                  <a:cubicBezTo>
                    <a:pt x="112681" y="30004"/>
                    <a:pt x="118205" y="42482"/>
                    <a:pt x="118205" y="60770"/>
                  </a:cubicBezTo>
                  <a:cubicBezTo>
                    <a:pt x="118110" y="78581"/>
                    <a:pt x="112776" y="91535"/>
                    <a:pt x="102013" y="9944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1" name="Tekstvak 30">
            <a:extLst>
              <a:ext uri="{FF2B5EF4-FFF2-40B4-BE49-F238E27FC236}">
                <a16:creationId xmlns:a16="http://schemas.microsoft.com/office/drawing/2014/main" id="{E41D0B55-F8FD-46D3-977E-49D188D35C9D}"/>
              </a:ext>
            </a:extLst>
          </p:cNvPr>
          <p:cNvSpPr txBox="1"/>
          <p:nvPr userDrawn="1"/>
        </p:nvSpPr>
        <p:spPr>
          <a:xfrm>
            <a:off x="992514" y="3939478"/>
            <a:ext cx="1361313" cy="178683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en-US" sz="1050">
                <a:solidFill>
                  <a:schemeClr val="bg1"/>
                </a:solidFill>
              </a:rPr>
              <a:t>BDR Thermea Group</a:t>
            </a:r>
          </a:p>
        </p:txBody>
      </p:sp>
      <p:sp>
        <p:nvSpPr>
          <p:cNvPr id="32" name="Tekstvak 31">
            <a:extLst>
              <a:ext uri="{FF2B5EF4-FFF2-40B4-BE49-F238E27FC236}">
                <a16:creationId xmlns:a16="http://schemas.microsoft.com/office/drawing/2014/main" id="{3FBEBED2-341F-41C4-B63F-4C630FC6CDEF}"/>
              </a:ext>
            </a:extLst>
          </p:cNvPr>
          <p:cNvSpPr txBox="1"/>
          <p:nvPr userDrawn="1"/>
        </p:nvSpPr>
        <p:spPr>
          <a:xfrm>
            <a:off x="992514" y="4125151"/>
            <a:ext cx="1361313" cy="178683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en-US" sz="1050">
                <a:solidFill>
                  <a:schemeClr val="bg1"/>
                </a:solidFill>
              </a:rPr>
              <a:t>BDR Thermea Group</a:t>
            </a:r>
          </a:p>
        </p:txBody>
      </p:sp>
      <p:grpSp>
        <p:nvGrpSpPr>
          <p:cNvPr id="40" name="Groep 39">
            <a:extLst>
              <a:ext uri="{FF2B5EF4-FFF2-40B4-BE49-F238E27FC236}">
                <a16:creationId xmlns:a16="http://schemas.microsoft.com/office/drawing/2014/main" id="{0D009BA3-1D82-4F94-8904-EADF519CB869}"/>
              </a:ext>
            </a:extLst>
          </p:cNvPr>
          <p:cNvGrpSpPr/>
          <p:nvPr userDrawn="1"/>
        </p:nvGrpSpPr>
        <p:grpSpPr>
          <a:xfrm>
            <a:off x="912104" y="3975275"/>
            <a:ext cx="99927" cy="99927"/>
            <a:chOff x="912104" y="3975275"/>
            <a:chExt cx="99927" cy="99927"/>
          </a:xfrm>
        </p:grpSpPr>
        <p:sp>
          <p:nvSpPr>
            <p:cNvPr id="35" name="Rechthoek 34">
              <a:extLst>
                <a:ext uri="{FF2B5EF4-FFF2-40B4-BE49-F238E27FC236}">
                  <a16:creationId xmlns:a16="http://schemas.microsoft.com/office/drawing/2014/main" id="{B557E1CD-D596-4D8D-AC17-0B0C4FE1EC23}"/>
                </a:ext>
              </a:extLst>
            </p:cNvPr>
            <p:cNvSpPr/>
            <p:nvPr userDrawn="1"/>
          </p:nvSpPr>
          <p:spPr>
            <a:xfrm>
              <a:off x="912104" y="3975275"/>
              <a:ext cx="99927" cy="9992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4" name="Graphic 33">
              <a:extLst>
                <a:ext uri="{FF2B5EF4-FFF2-40B4-BE49-F238E27FC236}">
                  <a16:creationId xmlns:a16="http://schemas.microsoft.com/office/drawing/2014/main" id="{8C94B010-85FE-4998-87BF-592015FD290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35564" y="3995804"/>
              <a:ext cx="60613" cy="60613"/>
            </a:xfrm>
            <a:prstGeom prst="rect">
              <a:avLst/>
            </a:prstGeom>
          </p:spPr>
        </p:pic>
      </p:grpSp>
      <p:grpSp>
        <p:nvGrpSpPr>
          <p:cNvPr id="39" name="Groep 38">
            <a:extLst>
              <a:ext uri="{FF2B5EF4-FFF2-40B4-BE49-F238E27FC236}">
                <a16:creationId xmlns:a16="http://schemas.microsoft.com/office/drawing/2014/main" id="{EF9644BC-EC10-4377-B8FA-74D47C2A0F5F}"/>
              </a:ext>
            </a:extLst>
          </p:cNvPr>
          <p:cNvGrpSpPr/>
          <p:nvPr userDrawn="1"/>
        </p:nvGrpSpPr>
        <p:grpSpPr>
          <a:xfrm>
            <a:off x="912104" y="4160935"/>
            <a:ext cx="99927" cy="99927"/>
            <a:chOff x="912104" y="4160935"/>
            <a:chExt cx="99927" cy="99927"/>
          </a:xfrm>
        </p:grpSpPr>
        <p:sp>
          <p:nvSpPr>
            <p:cNvPr id="36" name="Rechthoek 35">
              <a:extLst>
                <a:ext uri="{FF2B5EF4-FFF2-40B4-BE49-F238E27FC236}">
                  <a16:creationId xmlns:a16="http://schemas.microsoft.com/office/drawing/2014/main" id="{0813E2DC-4419-4136-A7D4-9B6A06051A30}"/>
                </a:ext>
              </a:extLst>
            </p:cNvPr>
            <p:cNvSpPr/>
            <p:nvPr userDrawn="1"/>
          </p:nvSpPr>
          <p:spPr>
            <a:xfrm>
              <a:off x="912104" y="4160935"/>
              <a:ext cx="99927" cy="9992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33AB8F9D-6F6E-4C5A-9E13-E4B0C840D2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31545" y="4179068"/>
              <a:ext cx="61042" cy="61042"/>
            </a:xfrm>
            <a:prstGeom prst="rect">
              <a:avLst/>
            </a:prstGeom>
          </p:spPr>
        </p:pic>
      </p:grpSp>
      <p:sp>
        <p:nvSpPr>
          <p:cNvPr id="30" name="Tijdelijke aanduiding voor dianummer 4">
            <a:extLst>
              <a:ext uri="{FF2B5EF4-FFF2-40B4-BE49-F238E27FC236}">
                <a16:creationId xmlns:a16="http://schemas.microsoft.com/office/drawing/2014/main" id="{E41DEA24-54B4-4264-9CF4-717739DF89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680" y="6274117"/>
            <a:ext cx="44204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2" name="Rechthoek 1">
            <a:extLst>
              <a:ext uri="{FF2B5EF4-FFF2-40B4-BE49-F238E27FC236}">
                <a16:creationId xmlns:a16="http://schemas.microsoft.com/office/drawing/2014/main" id="{2E235543-795A-45F6-BA52-626806E7D4A6}"/>
              </a:ext>
            </a:extLst>
          </p:cNvPr>
          <p:cNvSpPr/>
          <p:nvPr userDrawn="1"/>
        </p:nvSpPr>
        <p:spPr>
          <a:xfrm>
            <a:off x="912104" y="2582684"/>
            <a:ext cx="1690777" cy="11818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 indent="0" defTabSz="7191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</a:pPr>
            <a:r>
              <a:rPr lang="en-US" sz="1050">
                <a:solidFill>
                  <a:schemeClr val="bg1"/>
                </a:solidFill>
              </a:rPr>
              <a:t>Kanaal Zuid 106</a:t>
            </a:r>
          </a:p>
          <a:p>
            <a:pPr lvl="0" indent="0" defTabSz="7191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</a:pPr>
            <a:r>
              <a:rPr lang="en-US" sz="1050">
                <a:solidFill>
                  <a:schemeClr val="bg1"/>
                </a:solidFill>
              </a:rPr>
              <a:t>7332 BD Apeldoorn</a:t>
            </a:r>
          </a:p>
          <a:p>
            <a:pPr lvl="0" indent="0" defTabSz="7191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</a:pPr>
            <a:r>
              <a:rPr lang="en-US" sz="1050">
                <a:solidFill>
                  <a:schemeClr val="bg1"/>
                </a:solidFill>
              </a:rPr>
              <a:t>The Netherlands</a:t>
            </a:r>
          </a:p>
          <a:p>
            <a:pPr lvl="0" indent="0" defTabSz="7191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</a:pPr>
            <a:endParaRPr lang="en-US" sz="1050">
              <a:solidFill>
                <a:schemeClr val="bg1"/>
              </a:solidFill>
            </a:endParaRPr>
          </a:p>
          <a:p>
            <a:pPr lvl="0" indent="0" defTabSz="7191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</a:pPr>
            <a:r>
              <a:rPr lang="en-US" sz="1050">
                <a:solidFill>
                  <a:schemeClr val="bg1"/>
                </a:solidFill>
              </a:rPr>
              <a:t>P.O. Box 484</a:t>
            </a:r>
          </a:p>
          <a:p>
            <a:pPr lvl="0" indent="0" defTabSz="7191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</a:pPr>
            <a:r>
              <a:rPr lang="en-US" sz="1050">
                <a:solidFill>
                  <a:schemeClr val="bg1"/>
                </a:solidFill>
              </a:rPr>
              <a:t>7300 AL Apeldoorn</a:t>
            </a:r>
          </a:p>
          <a:p>
            <a:pPr lvl="0" indent="0" defTabSz="71913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</a:pPr>
            <a:r>
              <a:rPr lang="en-US" sz="1050">
                <a:solidFill>
                  <a:schemeClr val="bg1"/>
                </a:solidFill>
              </a:rPr>
              <a:t>The Netherlands</a:t>
            </a:r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26F9FD8A-E3B9-4120-9654-3DA9068A5709}"/>
              </a:ext>
            </a:extLst>
          </p:cNvPr>
          <p:cNvSpPr/>
          <p:nvPr userDrawn="1"/>
        </p:nvSpPr>
        <p:spPr>
          <a:xfrm>
            <a:off x="912104" y="2274103"/>
            <a:ext cx="966158" cy="3105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 indent="0" defTabSz="719138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</a:pPr>
            <a:r>
              <a:rPr lang="en-US" sz="1050" b="1">
                <a:solidFill>
                  <a:schemeClr val="bg1"/>
                </a:solidFill>
              </a:rPr>
              <a:t>Head Office</a:t>
            </a:r>
          </a:p>
        </p:txBody>
      </p:sp>
    </p:spTree>
    <p:extLst>
      <p:ext uri="{BB962C8B-B14F-4D97-AF65-F5344CB8AC3E}">
        <p14:creationId xmlns:p14="http://schemas.microsoft.com/office/powerpoint/2010/main" val="3740052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ur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91C2C43-90E1-445A-BA55-2829D8E14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2388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91C2C43-90E1-445A-BA55-2829D8E14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0FA4471C-7B01-42F1-A7EF-4AAA00B139B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>
              <a:latin typeface="Source Sans Pro" panose="020B0503030403020204" pitchFamily="34" charset="0"/>
              <a:ea typeface="+mj-ea"/>
              <a:cs typeface="+mj-cs"/>
              <a:sym typeface="Source Sans Pro" panose="020B0503030403020204" pitchFamily="34" charset="0"/>
            </a:endParaRPr>
          </a:p>
        </p:txBody>
      </p:sp>
      <p:sp>
        <p:nvSpPr>
          <p:cNvPr id="52" name="Tijdelijke aanduiding voor afbeelding 8">
            <a:extLst>
              <a:ext uri="{FF2B5EF4-FFF2-40B4-BE49-F238E27FC236}">
                <a16:creationId xmlns:a16="http://schemas.microsoft.com/office/drawing/2014/main" id="{A8AB96D0-8848-45C3-915C-A276917B390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5375" y="1434"/>
            <a:ext cx="12202750" cy="685656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he icon below </a:t>
            </a:r>
            <a:br>
              <a:rPr lang="en-US"/>
            </a:br>
            <a:r>
              <a:rPr lang="en-US"/>
              <a:t>to add an image.</a:t>
            </a:r>
            <a:br>
              <a:rPr lang="en-US"/>
            </a:br>
            <a:br>
              <a:rPr lang="en-US"/>
            </a:br>
            <a:r>
              <a:rPr lang="en-US"/>
              <a:t>Need additional help?</a:t>
            </a:r>
            <a:br>
              <a:rPr lang="en-US"/>
            </a:br>
            <a:r>
              <a:rPr lang="en-US"/>
              <a:t>To the side of the slides we’ve placed extra</a:t>
            </a:r>
            <a:br>
              <a:rPr lang="en-US"/>
            </a:br>
            <a:r>
              <a:rPr lang="en-US"/>
              <a:t> instructions how to process content. </a:t>
            </a:r>
          </a:p>
        </p:txBody>
      </p:sp>
      <p:sp>
        <p:nvSpPr>
          <p:cNvPr id="7" name="Tekstvak 6"/>
          <p:cNvSpPr txBox="1"/>
          <p:nvPr userDrawn="1"/>
        </p:nvSpPr>
        <p:spPr>
          <a:xfrm>
            <a:off x="-10750" y="-662296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914400" rtl="0" eaLnBrk="1" latinLnBrk="0" hangingPunct="1"/>
            <a:r>
              <a:rPr lang="en-US" sz="2400" b="0" kern="1200" spc="50" baseline="0">
                <a:solidFill>
                  <a:schemeClr val="accent2"/>
                </a:solidFill>
                <a:latin typeface="+mj-lt"/>
                <a:ea typeface="+mn-ea"/>
                <a:cs typeface="Calibri" panose="020F0502020204030204" pitchFamily="34" charset="0"/>
              </a:rPr>
              <a:t>Closure #1</a:t>
            </a:r>
          </a:p>
        </p:txBody>
      </p:sp>
      <p:sp>
        <p:nvSpPr>
          <p:cNvPr id="20" name="Tijdelijke aanduiding voor tekst 19">
            <a:extLst>
              <a:ext uri="{FF2B5EF4-FFF2-40B4-BE49-F238E27FC236}">
                <a16:creationId xmlns:a16="http://schemas.microsoft.com/office/drawing/2014/main" id="{9884E09B-B1D9-42DF-89AB-4BEC37641F3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27704" y="676772"/>
            <a:ext cx="6969863" cy="5861627"/>
          </a:xfrm>
          <a:custGeom>
            <a:avLst/>
            <a:gdLst>
              <a:gd name="connsiteX0" fmla="*/ 5160349 w 6969863"/>
              <a:gd name="connsiteY0" fmla="*/ 201 h 5861627"/>
              <a:gd name="connsiteX1" fmla="*/ 5295282 w 6969863"/>
              <a:gd name="connsiteY1" fmla="*/ 72996 h 5861627"/>
              <a:gd name="connsiteX2" fmla="*/ 6949743 w 6969863"/>
              <a:gd name="connsiteY2" fmla="*/ 2905615 h 5861627"/>
              <a:gd name="connsiteX3" fmla="*/ 6896826 w 6969863"/>
              <a:gd name="connsiteY3" fmla="*/ 3107150 h 5861627"/>
              <a:gd name="connsiteX4" fmla="*/ 2216388 w 6969863"/>
              <a:gd name="connsiteY4" fmla="*/ 5841451 h 5861627"/>
              <a:gd name="connsiteX5" fmla="*/ 2014624 w 6969863"/>
              <a:gd name="connsiteY5" fmla="*/ 5788279 h 5861627"/>
              <a:gd name="connsiteX6" fmla="*/ 1128857 w 6969863"/>
              <a:gd name="connsiteY6" fmla="*/ 4264233 h 5861627"/>
              <a:gd name="connsiteX7" fmla="*/ 2174 w 6969863"/>
              <a:gd name="connsiteY7" fmla="*/ 599279 h 5861627"/>
              <a:gd name="connsiteX8" fmla="*/ 10 w 6969863"/>
              <a:gd name="connsiteY8" fmla="*/ 406785 h 5861627"/>
              <a:gd name="connsiteX9" fmla="*/ 142755 w 6969863"/>
              <a:gd name="connsiteY9" fmla="*/ 257749 h 5861627"/>
              <a:gd name="connsiteX10" fmla="*/ 332447 w 6969863"/>
              <a:gd name="connsiteY10" fmla="*/ 251786 h 58616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969863" h="5861627">
                <a:moveTo>
                  <a:pt x="5160349" y="201"/>
                </a:moveTo>
                <a:cubicBezTo>
                  <a:pt x="5215431" y="-2672"/>
                  <a:pt x="5267428" y="25450"/>
                  <a:pt x="5295282" y="72996"/>
                </a:cubicBezTo>
                <a:lnTo>
                  <a:pt x="6949743" y="2905615"/>
                </a:lnTo>
                <a:cubicBezTo>
                  <a:pt x="6990770" y="2975841"/>
                  <a:pt x="6967052" y="3066122"/>
                  <a:pt x="6896826" y="3107150"/>
                </a:cubicBezTo>
                <a:lnTo>
                  <a:pt x="2216388" y="5841451"/>
                </a:lnTo>
                <a:cubicBezTo>
                  <a:pt x="2145992" y="5882632"/>
                  <a:pt x="2055556" y="5858743"/>
                  <a:pt x="2014624" y="5788279"/>
                </a:cubicBezTo>
                <a:lnTo>
                  <a:pt x="1128857" y="4264233"/>
                </a:lnTo>
                <a:cubicBezTo>
                  <a:pt x="384147" y="2998055"/>
                  <a:pt x="14734" y="1768504"/>
                  <a:pt x="2174" y="599279"/>
                </a:cubicBezTo>
                <a:lnTo>
                  <a:pt x="10" y="406785"/>
                </a:lnTo>
                <a:cubicBezTo>
                  <a:pt x="-893" y="326491"/>
                  <a:pt x="62539" y="260279"/>
                  <a:pt x="142755" y="257749"/>
                </a:cubicBezTo>
                <a:lnTo>
                  <a:pt x="332447" y="25178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itel 5">
            <a:extLst>
              <a:ext uri="{FF2B5EF4-FFF2-40B4-BE49-F238E27FC236}">
                <a16:creationId xmlns:a16="http://schemas.microsoft.com/office/drawing/2014/main" id="{EE39DDA7-921D-4256-A30C-B0B1FE7EAB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6823" y="2179631"/>
            <a:ext cx="3890852" cy="1068394"/>
          </a:xfrm>
        </p:spPr>
        <p:txBody>
          <a:bodyPr/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Template </a:t>
            </a:r>
            <a:br>
              <a:rPr lang="en-US" noProof="0"/>
            </a:br>
            <a:r>
              <a:rPr lang="en-US" noProof="0"/>
              <a:t>for a short title</a:t>
            </a:r>
            <a:endParaRPr lang="en-US"/>
          </a:p>
        </p:txBody>
      </p:sp>
      <p:sp>
        <p:nvSpPr>
          <p:cNvPr id="15" name="Tijdelijke aanduiding voor verticale tekst 2">
            <a:extLst>
              <a:ext uri="{FF2B5EF4-FFF2-40B4-BE49-F238E27FC236}">
                <a16:creationId xmlns:a16="http://schemas.microsoft.com/office/drawing/2014/main" id="{6AD5D99D-20DD-4C09-B9C7-9F30D637954C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4167094" y="3905369"/>
            <a:ext cx="2872061" cy="800121"/>
          </a:xfrm>
        </p:spPr>
        <p:txBody>
          <a:bodyPr vert="horz" lIns="0" tIns="0" rIns="0" bIns="0"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2"/>
                </a:solidFill>
              </a:defRPr>
            </a:lvl1pPr>
            <a:lvl2pPr marL="217488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Place your info here</a:t>
            </a:r>
          </a:p>
        </p:txBody>
      </p:sp>
      <p:sp>
        <p:nvSpPr>
          <p:cNvPr id="17" name="Tijdelijke aanduiding voor tekst 19">
            <a:extLst>
              <a:ext uri="{FF2B5EF4-FFF2-40B4-BE49-F238E27FC236}">
                <a16:creationId xmlns:a16="http://schemas.microsoft.com/office/drawing/2014/main" id="{57165869-05DA-4A5C-B326-CE4ED7D95B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83580" y="1769550"/>
            <a:ext cx="1840072" cy="164379"/>
          </a:xfrm>
          <a:prstGeom prst="rect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10141" b="7644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Tijdelijke aanduiding voor verticale tekst 2">
            <a:extLst>
              <a:ext uri="{FF2B5EF4-FFF2-40B4-BE49-F238E27FC236}">
                <a16:creationId xmlns:a16="http://schemas.microsoft.com/office/drawing/2014/main" id="{0F32F0C8-26CC-46EF-8D20-54B4A419224C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4167094" y="3618816"/>
            <a:ext cx="2872061" cy="286554"/>
          </a:xfrm>
        </p:spPr>
        <p:txBody>
          <a:bodyPr vert="horz" lIns="0" tIns="0" rIns="0" b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5"/>
                </a:solidFill>
              </a:defRPr>
            </a:lvl1pPr>
            <a:lvl2pPr marL="217488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Name speaker</a:t>
            </a:r>
          </a:p>
        </p:txBody>
      </p:sp>
      <p:sp>
        <p:nvSpPr>
          <p:cNvPr id="9" name="Tijdelijke aanduiding voor dianummer 4">
            <a:extLst>
              <a:ext uri="{FF2B5EF4-FFF2-40B4-BE49-F238E27FC236}">
                <a16:creationId xmlns:a16="http://schemas.microsoft.com/office/drawing/2014/main" id="{95883B6D-BB67-4DC5-AF47-77914C19FB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680" y="6274117"/>
            <a:ext cx="44204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0385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ur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801411E-BB6B-4F04-81D5-AB5D8B7CF8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25228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1801411E-BB6B-4F04-81D5-AB5D8B7CF8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609CDDC-0EEA-4C7B-BF92-160F9B4FA7F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>
              <a:latin typeface="Source Sans Pro" panose="020B0503030403020204" pitchFamily="34" charset="0"/>
              <a:ea typeface="+mj-ea"/>
              <a:cs typeface="+mj-cs"/>
              <a:sym typeface="Source Sans Pro" panose="020B0503030403020204" pitchFamily="34" charset="0"/>
            </a:endParaRPr>
          </a:p>
        </p:txBody>
      </p:sp>
      <p:sp>
        <p:nvSpPr>
          <p:cNvPr id="52" name="Tijdelijke aanduiding voor afbeelding 8">
            <a:extLst>
              <a:ext uri="{FF2B5EF4-FFF2-40B4-BE49-F238E27FC236}">
                <a16:creationId xmlns:a16="http://schemas.microsoft.com/office/drawing/2014/main" id="{A8AB96D0-8848-45C3-915C-A276917B390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5375" y="1434"/>
            <a:ext cx="12202750" cy="685656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he icon below </a:t>
            </a:r>
            <a:br>
              <a:rPr lang="en-US"/>
            </a:br>
            <a:r>
              <a:rPr lang="en-US"/>
              <a:t>to add an image.</a:t>
            </a:r>
            <a:br>
              <a:rPr lang="en-US"/>
            </a:br>
            <a:br>
              <a:rPr lang="en-US"/>
            </a:br>
            <a:r>
              <a:rPr lang="en-US"/>
              <a:t>Need additional help?</a:t>
            </a:r>
            <a:br>
              <a:rPr lang="en-US"/>
            </a:br>
            <a:r>
              <a:rPr lang="en-US"/>
              <a:t>To the side of the slides we’ve placed extra</a:t>
            </a:r>
            <a:br>
              <a:rPr lang="en-US"/>
            </a:br>
            <a:r>
              <a:rPr lang="en-US"/>
              <a:t> instructions how to process content. </a:t>
            </a:r>
          </a:p>
        </p:txBody>
      </p:sp>
      <p:sp>
        <p:nvSpPr>
          <p:cNvPr id="7" name="Tekstvak 6"/>
          <p:cNvSpPr txBox="1"/>
          <p:nvPr userDrawn="1"/>
        </p:nvSpPr>
        <p:spPr>
          <a:xfrm>
            <a:off x="-10750" y="-662296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914400" rtl="0" eaLnBrk="1" latinLnBrk="0" hangingPunct="1"/>
            <a:r>
              <a:rPr lang="en-US" sz="2400" b="0" kern="1200" spc="50" baseline="0">
                <a:solidFill>
                  <a:schemeClr val="accent2"/>
                </a:solidFill>
                <a:latin typeface="+mn-lt"/>
                <a:ea typeface="+mn-ea"/>
                <a:cs typeface="Calibri" panose="020F0502020204030204" pitchFamily="34" charset="0"/>
              </a:rPr>
              <a:t>Closure #2</a:t>
            </a:r>
          </a:p>
        </p:txBody>
      </p:sp>
      <p:sp>
        <p:nvSpPr>
          <p:cNvPr id="19" name="Tijdelijke aanduiding voor tekst 18">
            <a:extLst>
              <a:ext uri="{FF2B5EF4-FFF2-40B4-BE49-F238E27FC236}">
                <a16:creationId xmlns:a16="http://schemas.microsoft.com/office/drawing/2014/main" id="{F1C91170-6483-4A48-BE5A-1E0721E92A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 rot="9592790">
            <a:off x="1161982" y="-184851"/>
            <a:ext cx="8775969" cy="6441929"/>
          </a:xfrm>
          <a:custGeom>
            <a:avLst/>
            <a:gdLst>
              <a:gd name="connsiteX0" fmla="*/ 4353930 w 8775969"/>
              <a:gd name="connsiteY0" fmla="*/ 6441929 h 6441929"/>
              <a:gd name="connsiteX1" fmla="*/ 1420246 w 8775969"/>
              <a:gd name="connsiteY1" fmla="*/ 5367182 h 6441929"/>
              <a:gd name="connsiteX2" fmla="*/ 1091850 w 8775969"/>
              <a:gd name="connsiteY2" fmla="*/ 4773591 h 6441929"/>
              <a:gd name="connsiteX3" fmla="*/ 2736 w 8775969"/>
              <a:gd name="connsiteY3" fmla="*/ 754571 h 6441929"/>
              <a:gd name="connsiteX4" fmla="*/ 12 w 8775969"/>
              <a:gd name="connsiteY4" fmla="*/ 512196 h 6441929"/>
              <a:gd name="connsiteX5" fmla="*/ 179746 w 8775969"/>
              <a:gd name="connsiteY5" fmla="*/ 324540 h 6441929"/>
              <a:gd name="connsiteX6" fmla="*/ 418594 w 8775969"/>
              <a:gd name="connsiteY6" fmla="*/ 317031 h 6441929"/>
              <a:gd name="connsiteX7" fmla="*/ 6497553 w 8775969"/>
              <a:gd name="connsiteY7" fmla="*/ 253 h 6441929"/>
              <a:gd name="connsiteX8" fmla="*/ 6667451 w 8775969"/>
              <a:gd name="connsiteY8" fmla="*/ 91911 h 6441929"/>
              <a:gd name="connsiteX9" fmla="*/ 8750634 w 8775969"/>
              <a:gd name="connsiteY9" fmla="*/ 3658550 h 6441929"/>
              <a:gd name="connsiteX10" fmla="*/ 8684005 w 8775969"/>
              <a:gd name="connsiteY10" fmla="*/ 3912309 h 6441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775969" h="6441929">
                <a:moveTo>
                  <a:pt x="4353930" y="6441929"/>
                </a:moveTo>
                <a:lnTo>
                  <a:pt x="1420246" y="5367182"/>
                </a:lnTo>
                <a:lnTo>
                  <a:pt x="1091850" y="4773591"/>
                </a:lnTo>
                <a:cubicBezTo>
                  <a:pt x="374427" y="3389089"/>
                  <a:pt x="16575" y="2042753"/>
                  <a:pt x="2736" y="754571"/>
                </a:cubicBezTo>
                <a:lnTo>
                  <a:pt x="12" y="512196"/>
                </a:lnTo>
                <a:cubicBezTo>
                  <a:pt x="-1125" y="411095"/>
                  <a:pt x="78744" y="327726"/>
                  <a:pt x="179746" y="324540"/>
                </a:cubicBezTo>
                <a:lnTo>
                  <a:pt x="418594" y="317031"/>
                </a:lnTo>
                <a:lnTo>
                  <a:pt x="6497553" y="253"/>
                </a:lnTo>
                <a:cubicBezTo>
                  <a:pt x="6566908" y="-3364"/>
                  <a:pt x="6632380" y="32045"/>
                  <a:pt x="6667451" y="91911"/>
                </a:cubicBezTo>
                <a:lnTo>
                  <a:pt x="8750634" y="3658550"/>
                </a:lnTo>
                <a:cubicBezTo>
                  <a:pt x="8802293" y="3746973"/>
                  <a:pt x="8772429" y="3860649"/>
                  <a:pt x="8684005" y="3912309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itel 5">
            <a:extLst>
              <a:ext uri="{FF2B5EF4-FFF2-40B4-BE49-F238E27FC236}">
                <a16:creationId xmlns:a16="http://schemas.microsoft.com/office/drawing/2014/main" id="{EE39DDA7-921D-4256-A30C-B0B1FE7EAB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6823" y="1797280"/>
            <a:ext cx="3890852" cy="2108088"/>
          </a:xfrm>
        </p:spPr>
        <p:txBody>
          <a:bodyPr/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Template </a:t>
            </a:r>
            <a:br>
              <a:rPr lang="en-US" noProof="0"/>
            </a:br>
            <a:r>
              <a:rPr lang="en-US" noProof="0"/>
              <a:t>for a long title over three, four or five lines</a:t>
            </a:r>
            <a:endParaRPr lang="en-US"/>
          </a:p>
        </p:txBody>
      </p:sp>
      <p:sp>
        <p:nvSpPr>
          <p:cNvPr id="15" name="Tijdelijke aanduiding voor verticale tekst 2">
            <a:extLst>
              <a:ext uri="{FF2B5EF4-FFF2-40B4-BE49-F238E27FC236}">
                <a16:creationId xmlns:a16="http://schemas.microsoft.com/office/drawing/2014/main" id="{6AD5D99D-20DD-4C09-B9C7-9F30D637954C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4167094" y="4652115"/>
            <a:ext cx="3890852" cy="555506"/>
          </a:xfrm>
        </p:spPr>
        <p:txBody>
          <a:bodyPr vert="horz" lIns="0" tIns="0" rIns="0" bIns="0"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2"/>
                </a:solidFill>
              </a:defRPr>
            </a:lvl1pPr>
            <a:lvl2pPr marL="217488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Place your info here</a:t>
            </a:r>
          </a:p>
        </p:txBody>
      </p:sp>
      <p:sp>
        <p:nvSpPr>
          <p:cNvPr id="17" name="Tijdelijke aanduiding voor tekst 19">
            <a:extLst>
              <a:ext uri="{FF2B5EF4-FFF2-40B4-BE49-F238E27FC236}">
                <a16:creationId xmlns:a16="http://schemas.microsoft.com/office/drawing/2014/main" id="{57165869-05DA-4A5C-B326-CE4ED7D95B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83580" y="1211432"/>
            <a:ext cx="1840072" cy="164379"/>
          </a:xfrm>
          <a:prstGeom prst="rect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10141" b="7644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Tijdelijke aanduiding voor verticale tekst 2">
            <a:extLst>
              <a:ext uri="{FF2B5EF4-FFF2-40B4-BE49-F238E27FC236}">
                <a16:creationId xmlns:a16="http://schemas.microsoft.com/office/drawing/2014/main" id="{0F32F0C8-26CC-46EF-8D20-54B4A419224C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4167094" y="4365561"/>
            <a:ext cx="3890852" cy="286554"/>
          </a:xfrm>
        </p:spPr>
        <p:txBody>
          <a:bodyPr vert="horz" lIns="0" tIns="0" rIns="0" b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5"/>
                </a:solidFill>
              </a:defRPr>
            </a:lvl1pPr>
            <a:lvl2pPr marL="217488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Name speaker</a:t>
            </a:r>
          </a:p>
        </p:txBody>
      </p:sp>
      <p:sp>
        <p:nvSpPr>
          <p:cNvPr id="9" name="Tijdelijke aanduiding voor dianummer 4">
            <a:extLst>
              <a:ext uri="{FF2B5EF4-FFF2-40B4-BE49-F238E27FC236}">
                <a16:creationId xmlns:a16="http://schemas.microsoft.com/office/drawing/2014/main" id="{14FA96FC-A80F-40DD-8F77-EE47C14973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680" y="6274117"/>
            <a:ext cx="44204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3729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ur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B2EFDE0-2FEC-4613-98F6-213B4C6978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3095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FB2EFDE0-2FEC-4613-98F6-213B4C6978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8C031694-AF1D-4B94-940F-B44273440BD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>
              <a:latin typeface="Source Sans Pro" panose="020B0503030403020204" pitchFamily="34" charset="0"/>
              <a:ea typeface="+mj-ea"/>
              <a:cs typeface="+mj-cs"/>
              <a:sym typeface="Source Sans Pro" panose="020B0503030403020204" pitchFamily="34" charset="0"/>
            </a:endParaRPr>
          </a:p>
        </p:txBody>
      </p:sp>
      <p:pic>
        <p:nvPicPr>
          <p:cNvPr id="10" name="Tijdelijke aanduiding voor afbeelding 14">
            <a:extLst>
              <a:ext uri="{FF2B5EF4-FFF2-40B4-BE49-F238E27FC236}">
                <a16:creationId xmlns:a16="http://schemas.microsoft.com/office/drawing/2014/main" id="{10DE6FA8-3A25-4F3F-908F-FDF76F4BDFC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202750" cy="6856566"/>
          </a:xfrm>
          <a:prstGeom prst="rect">
            <a:avLst/>
          </a:prstGeom>
        </p:spPr>
      </p:pic>
      <p:sp>
        <p:nvSpPr>
          <p:cNvPr id="7" name="Tekstvak 6"/>
          <p:cNvSpPr txBox="1"/>
          <p:nvPr userDrawn="1"/>
        </p:nvSpPr>
        <p:spPr>
          <a:xfrm>
            <a:off x="-10750" y="-662296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914400" rtl="0" eaLnBrk="1" latinLnBrk="0" hangingPunct="1"/>
            <a:r>
              <a:rPr lang="en-US" sz="2400" b="0" kern="1200" spc="50" baseline="0">
                <a:solidFill>
                  <a:schemeClr val="accent2"/>
                </a:solidFill>
                <a:latin typeface="+mj-lt"/>
                <a:ea typeface="+mn-ea"/>
                <a:cs typeface="Calibri" panose="020F0502020204030204" pitchFamily="34" charset="0"/>
              </a:rPr>
              <a:t>Closure #1</a:t>
            </a:r>
          </a:p>
        </p:txBody>
      </p:sp>
      <p:sp>
        <p:nvSpPr>
          <p:cNvPr id="20" name="Tijdelijke aanduiding voor tekst 19">
            <a:extLst>
              <a:ext uri="{FF2B5EF4-FFF2-40B4-BE49-F238E27FC236}">
                <a16:creationId xmlns:a16="http://schemas.microsoft.com/office/drawing/2014/main" id="{9884E09B-B1D9-42DF-89AB-4BEC37641F3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27704" y="676772"/>
            <a:ext cx="6969863" cy="5861627"/>
          </a:xfrm>
          <a:custGeom>
            <a:avLst/>
            <a:gdLst>
              <a:gd name="connsiteX0" fmla="*/ 5160349 w 6969863"/>
              <a:gd name="connsiteY0" fmla="*/ 201 h 5861627"/>
              <a:gd name="connsiteX1" fmla="*/ 5295282 w 6969863"/>
              <a:gd name="connsiteY1" fmla="*/ 72996 h 5861627"/>
              <a:gd name="connsiteX2" fmla="*/ 6949743 w 6969863"/>
              <a:gd name="connsiteY2" fmla="*/ 2905615 h 5861627"/>
              <a:gd name="connsiteX3" fmla="*/ 6896826 w 6969863"/>
              <a:gd name="connsiteY3" fmla="*/ 3107150 h 5861627"/>
              <a:gd name="connsiteX4" fmla="*/ 2216388 w 6969863"/>
              <a:gd name="connsiteY4" fmla="*/ 5841451 h 5861627"/>
              <a:gd name="connsiteX5" fmla="*/ 2014624 w 6969863"/>
              <a:gd name="connsiteY5" fmla="*/ 5788279 h 5861627"/>
              <a:gd name="connsiteX6" fmla="*/ 1128857 w 6969863"/>
              <a:gd name="connsiteY6" fmla="*/ 4264233 h 5861627"/>
              <a:gd name="connsiteX7" fmla="*/ 2174 w 6969863"/>
              <a:gd name="connsiteY7" fmla="*/ 599279 h 5861627"/>
              <a:gd name="connsiteX8" fmla="*/ 10 w 6969863"/>
              <a:gd name="connsiteY8" fmla="*/ 406785 h 5861627"/>
              <a:gd name="connsiteX9" fmla="*/ 142755 w 6969863"/>
              <a:gd name="connsiteY9" fmla="*/ 257749 h 5861627"/>
              <a:gd name="connsiteX10" fmla="*/ 332447 w 6969863"/>
              <a:gd name="connsiteY10" fmla="*/ 251786 h 58616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969863" h="5861627">
                <a:moveTo>
                  <a:pt x="5160349" y="201"/>
                </a:moveTo>
                <a:cubicBezTo>
                  <a:pt x="5215431" y="-2672"/>
                  <a:pt x="5267428" y="25450"/>
                  <a:pt x="5295282" y="72996"/>
                </a:cubicBezTo>
                <a:lnTo>
                  <a:pt x="6949743" y="2905615"/>
                </a:lnTo>
                <a:cubicBezTo>
                  <a:pt x="6990770" y="2975841"/>
                  <a:pt x="6967052" y="3066122"/>
                  <a:pt x="6896826" y="3107150"/>
                </a:cubicBezTo>
                <a:lnTo>
                  <a:pt x="2216388" y="5841451"/>
                </a:lnTo>
                <a:cubicBezTo>
                  <a:pt x="2145992" y="5882632"/>
                  <a:pt x="2055556" y="5858743"/>
                  <a:pt x="2014624" y="5788279"/>
                </a:cubicBezTo>
                <a:lnTo>
                  <a:pt x="1128857" y="4264233"/>
                </a:lnTo>
                <a:cubicBezTo>
                  <a:pt x="384147" y="2998055"/>
                  <a:pt x="14734" y="1768504"/>
                  <a:pt x="2174" y="599279"/>
                </a:cubicBezTo>
                <a:lnTo>
                  <a:pt x="10" y="406785"/>
                </a:lnTo>
                <a:cubicBezTo>
                  <a:pt x="-893" y="326491"/>
                  <a:pt x="62539" y="260279"/>
                  <a:pt x="142755" y="257749"/>
                </a:cubicBezTo>
                <a:lnTo>
                  <a:pt x="332447" y="25178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itel 5">
            <a:extLst>
              <a:ext uri="{FF2B5EF4-FFF2-40B4-BE49-F238E27FC236}">
                <a16:creationId xmlns:a16="http://schemas.microsoft.com/office/drawing/2014/main" id="{EE39DDA7-921D-4256-A30C-B0B1FE7EAB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6823" y="2179631"/>
            <a:ext cx="3890852" cy="1068394"/>
          </a:xfrm>
        </p:spPr>
        <p:txBody>
          <a:bodyPr/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Template </a:t>
            </a:r>
            <a:br>
              <a:rPr lang="en-US" noProof="0"/>
            </a:br>
            <a:r>
              <a:rPr lang="en-US" noProof="0"/>
              <a:t>for a short title</a:t>
            </a:r>
            <a:endParaRPr lang="en-US"/>
          </a:p>
        </p:txBody>
      </p:sp>
      <p:sp>
        <p:nvSpPr>
          <p:cNvPr id="15" name="Tijdelijke aanduiding voor verticale tekst 2">
            <a:extLst>
              <a:ext uri="{FF2B5EF4-FFF2-40B4-BE49-F238E27FC236}">
                <a16:creationId xmlns:a16="http://schemas.microsoft.com/office/drawing/2014/main" id="{6AD5D99D-20DD-4C09-B9C7-9F30D637954C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4167094" y="3905369"/>
            <a:ext cx="2872061" cy="800121"/>
          </a:xfrm>
        </p:spPr>
        <p:txBody>
          <a:bodyPr vert="horz" lIns="0" tIns="0" rIns="0" bIns="0"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2"/>
                </a:solidFill>
              </a:defRPr>
            </a:lvl1pPr>
            <a:lvl2pPr marL="217488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Place your info here</a:t>
            </a:r>
          </a:p>
        </p:txBody>
      </p:sp>
      <p:sp>
        <p:nvSpPr>
          <p:cNvPr id="17" name="Tijdelijke aanduiding voor tekst 19">
            <a:extLst>
              <a:ext uri="{FF2B5EF4-FFF2-40B4-BE49-F238E27FC236}">
                <a16:creationId xmlns:a16="http://schemas.microsoft.com/office/drawing/2014/main" id="{57165869-05DA-4A5C-B326-CE4ED7D95B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83580" y="1769550"/>
            <a:ext cx="1840072" cy="164379"/>
          </a:xfrm>
          <a:prstGeom prst="rect">
            <a:avLst/>
          </a:prstGeo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10141" b="7644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Tijdelijke aanduiding voor verticale tekst 2">
            <a:extLst>
              <a:ext uri="{FF2B5EF4-FFF2-40B4-BE49-F238E27FC236}">
                <a16:creationId xmlns:a16="http://schemas.microsoft.com/office/drawing/2014/main" id="{0F32F0C8-26CC-46EF-8D20-54B4A419224C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4167094" y="3618816"/>
            <a:ext cx="2872061" cy="286554"/>
          </a:xfrm>
        </p:spPr>
        <p:txBody>
          <a:bodyPr vert="horz" lIns="0" tIns="0" rIns="0" b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5"/>
                </a:solidFill>
              </a:defRPr>
            </a:lvl1pPr>
            <a:lvl2pPr marL="217488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Name speaker</a:t>
            </a:r>
          </a:p>
        </p:txBody>
      </p:sp>
      <p:sp>
        <p:nvSpPr>
          <p:cNvPr id="9" name="Tijdelijke aanduiding voor dianummer 4">
            <a:extLst>
              <a:ext uri="{FF2B5EF4-FFF2-40B4-BE49-F238E27FC236}">
                <a16:creationId xmlns:a16="http://schemas.microsoft.com/office/drawing/2014/main" id="{95883B6D-BB67-4DC5-AF47-77914C19FB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680" y="6274117"/>
            <a:ext cx="44204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5151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ure #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815A9B7-B714-4AC3-BE03-D579CD7A0E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4536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815A9B7-B714-4AC3-BE03-D579CD7A0E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830010-206C-4FAA-80C0-9E16D3C4B0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>
              <a:latin typeface="Source Sans Pro" panose="020B0503030403020204" pitchFamily="34" charset="0"/>
              <a:ea typeface="+mj-ea"/>
              <a:cs typeface="+mj-cs"/>
              <a:sym typeface="Source Sans Pro" panose="020B0503030403020204" pitchFamily="34" charset="0"/>
            </a:endParaRPr>
          </a:p>
        </p:txBody>
      </p:sp>
      <p:pic>
        <p:nvPicPr>
          <p:cNvPr id="11" name="Tijdelijke aanduiding voor afbeelding 7">
            <a:extLst>
              <a:ext uri="{FF2B5EF4-FFF2-40B4-BE49-F238E27FC236}">
                <a16:creationId xmlns:a16="http://schemas.microsoft.com/office/drawing/2014/main" id="{79B894AE-E74D-4066-A2CC-E8C18E9964A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5375" y="1434"/>
            <a:ext cx="12202750" cy="6856566"/>
          </a:xfrm>
          <a:prstGeom prst="rect">
            <a:avLst/>
          </a:prstGeom>
        </p:spPr>
      </p:pic>
      <p:sp>
        <p:nvSpPr>
          <p:cNvPr id="7" name="Tekstvak 6"/>
          <p:cNvSpPr txBox="1"/>
          <p:nvPr userDrawn="1"/>
        </p:nvSpPr>
        <p:spPr>
          <a:xfrm>
            <a:off x="-10750" y="-662296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914400" rtl="0" eaLnBrk="1" latinLnBrk="0" hangingPunct="1"/>
            <a:r>
              <a:rPr lang="en-US" sz="2400" b="0" kern="1200" spc="50" baseline="0">
                <a:solidFill>
                  <a:schemeClr val="accent2"/>
                </a:solidFill>
                <a:latin typeface="+mj-lt"/>
                <a:ea typeface="+mn-ea"/>
                <a:cs typeface="Calibri" panose="020F0502020204030204" pitchFamily="34" charset="0"/>
              </a:rPr>
              <a:t>Closure #1</a:t>
            </a:r>
          </a:p>
        </p:txBody>
      </p:sp>
      <p:sp>
        <p:nvSpPr>
          <p:cNvPr id="20" name="Tijdelijke aanduiding voor tekst 19">
            <a:extLst>
              <a:ext uri="{FF2B5EF4-FFF2-40B4-BE49-F238E27FC236}">
                <a16:creationId xmlns:a16="http://schemas.microsoft.com/office/drawing/2014/main" id="{9884E09B-B1D9-42DF-89AB-4BEC37641F3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27704" y="676772"/>
            <a:ext cx="6969863" cy="5861627"/>
          </a:xfrm>
          <a:custGeom>
            <a:avLst/>
            <a:gdLst>
              <a:gd name="connsiteX0" fmla="*/ 5160349 w 6969863"/>
              <a:gd name="connsiteY0" fmla="*/ 201 h 5861627"/>
              <a:gd name="connsiteX1" fmla="*/ 5295282 w 6969863"/>
              <a:gd name="connsiteY1" fmla="*/ 72996 h 5861627"/>
              <a:gd name="connsiteX2" fmla="*/ 6949743 w 6969863"/>
              <a:gd name="connsiteY2" fmla="*/ 2905615 h 5861627"/>
              <a:gd name="connsiteX3" fmla="*/ 6896826 w 6969863"/>
              <a:gd name="connsiteY3" fmla="*/ 3107150 h 5861627"/>
              <a:gd name="connsiteX4" fmla="*/ 2216388 w 6969863"/>
              <a:gd name="connsiteY4" fmla="*/ 5841451 h 5861627"/>
              <a:gd name="connsiteX5" fmla="*/ 2014624 w 6969863"/>
              <a:gd name="connsiteY5" fmla="*/ 5788279 h 5861627"/>
              <a:gd name="connsiteX6" fmla="*/ 1128857 w 6969863"/>
              <a:gd name="connsiteY6" fmla="*/ 4264233 h 5861627"/>
              <a:gd name="connsiteX7" fmla="*/ 2174 w 6969863"/>
              <a:gd name="connsiteY7" fmla="*/ 599279 h 5861627"/>
              <a:gd name="connsiteX8" fmla="*/ 10 w 6969863"/>
              <a:gd name="connsiteY8" fmla="*/ 406785 h 5861627"/>
              <a:gd name="connsiteX9" fmla="*/ 142755 w 6969863"/>
              <a:gd name="connsiteY9" fmla="*/ 257749 h 5861627"/>
              <a:gd name="connsiteX10" fmla="*/ 332447 w 6969863"/>
              <a:gd name="connsiteY10" fmla="*/ 251786 h 58616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969863" h="5861627">
                <a:moveTo>
                  <a:pt x="5160349" y="201"/>
                </a:moveTo>
                <a:cubicBezTo>
                  <a:pt x="5215431" y="-2672"/>
                  <a:pt x="5267428" y="25450"/>
                  <a:pt x="5295282" y="72996"/>
                </a:cubicBezTo>
                <a:lnTo>
                  <a:pt x="6949743" y="2905615"/>
                </a:lnTo>
                <a:cubicBezTo>
                  <a:pt x="6990770" y="2975841"/>
                  <a:pt x="6967052" y="3066122"/>
                  <a:pt x="6896826" y="3107150"/>
                </a:cubicBezTo>
                <a:lnTo>
                  <a:pt x="2216388" y="5841451"/>
                </a:lnTo>
                <a:cubicBezTo>
                  <a:pt x="2145992" y="5882632"/>
                  <a:pt x="2055556" y="5858743"/>
                  <a:pt x="2014624" y="5788279"/>
                </a:cubicBezTo>
                <a:lnTo>
                  <a:pt x="1128857" y="4264233"/>
                </a:lnTo>
                <a:cubicBezTo>
                  <a:pt x="384147" y="2998055"/>
                  <a:pt x="14734" y="1768504"/>
                  <a:pt x="2174" y="599279"/>
                </a:cubicBezTo>
                <a:lnTo>
                  <a:pt x="10" y="406785"/>
                </a:lnTo>
                <a:cubicBezTo>
                  <a:pt x="-893" y="326491"/>
                  <a:pt x="62539" y="260279"/>
                  <a:pt x="142755" y="257749"/>
                </a:cubicBezTo>
                <a:lnTo>
                  <a:pt x="332447" y="25178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itel 5">
            <a:extLst>
              <a:ext uri="{FF2B5EF4-FFF2-40B4-BE49-F238E27FC236}">
                <a16:creationId xmlns:a16="http://schemas.microsoft.com/office/drawing/2014/main" id="{EE39DDA7-921D-4256-A30C-B0B1FE7EAB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6823" y="2179631"/>
            <a:ext cx="3890852" cy="1068394"/>
          </a:xfrm>
        </p:spPr>
        <p:txBody>
          <a:bodyPr/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Template </a:t>
            </a:r>
            <a:br>
              <a:rPr lang="en-US" noProof="0"/>
            </a:br>
            <a:r>
              <a:rPr lang="en-US" noProof="0"/>
              <a:t>for a short title</a:t>
            </a:r>
            <a:endParaRPr lang="en-US"/>
          </a:p>
        </p:txBody>
      </p:sp>
      <p:sp>
        <p:nvSpPr>
          <p:cNvPr id="15" name="Tijdelijke aanduiding voor verticale tekst 2">
            <a:extLst>
              <a:ext uri="{FF2B5EF4-FFF2-40B4-BE49-F238E27FC236}">
                <a16:creationId xmlns:a16="http://schemas.microsoft.com/office/drawing/2014/main" id="{6AD5D99D-20DD-4C09-B9C7-9F30D637954C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4167094" y="3905369"/>
            <a:ext cx="2872061" cy="800121"/>
          </a:xfrm>
        </p:spPr>
        <p:txBody>
          <a:bodyPr vert="horz" lIns="0" tIns="0" rIns="0" bIns="0"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2"/>
                </a:solidFill>
              </a:defRPr>
            </a:lvl1pPr>
            <a:lvl2pPr marL="217488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Place your info here</a:t>
            </a:r>
          </a:p>
        </p:txBody>
      </p:sp>
      <p:sp>
        <p:nvSpPr>
          <p:cNvPr id="17" name="Tijdelijke aanduiding voor tekst 19">
            <a:extLst>
              <a:ext uri="{FF2B5EF4-FFF2-40B4-BE49-F238E27FC236}">
                <a16:creationId xmlns:a16="http://schemas.microsoft.com/office/drawing/2014/main" id="{57165869-05DA-4A5C-B326-CE4ED7D95B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83580" y="1769550"/>
            <a:ext cx="1840072" cy="164379"/>
          </a:xfrm>
          <a:prstGeom prst="rect">
            <a:avLst/>
          </a:prstGeo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10141" b="7644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Tijdelijke aanduiding voor verticale tekst 2">
            <a:extLst>
              <a:ext uri="{FF2B5EF4-FFF2-40B4-BE49-F238E27FC236}">
                <a16:creationId xmlns:a16="http://schemas.microsoft.com/office/drawing/2014/main" id="{0F32F0C8-26CC-46EF-8D20-54B4A419224C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4167094" y="3618816"/>
            <a:ext cx="2872061" cy="286554"/>
          </a:xfrm>
        </p:spPr>
        <p:txBody>
          <a:bodyPr vert="horz" lIns="0" tIns="0" rIns="0" b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5"/>
                </a:solidFill>
              </a:defRPr>
            </a:lvl1pPr>
            <a:lvl2pPr marL="217488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Name speaker</a:t>
            </a:r>
          </a:p>
        </p:txBody>
      </p:sp>
      <p:sp>
        <p:nvSpPr>
          <p:cNvPr id="9" name="Tijdelijke aanduiding voor dianummer 4">
            <a:extLst>
              <a:ext uri="{FF2B5EF4-FFF2-40B4-BE49-F238E27FC236}">
                <a16:creationId xmlns:a16="http://schemas.microsoft.com/office/drawing/2014/main" id="{95883B6D-BB67-4DC5-AF47-77914C19FB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680" y="6274117"/>
            <a:ext cx="44204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9790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ure #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F95D904-3585-472E-A9AC-953B4F94E5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89467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F95D904-3585-472E-A9AC-953B4F94E5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DA0BF76-B85E-4EC9-9EEC-CDC94B43F9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>
              <a:latin typeface="Source Sans Pro" panose="020B0503030403020204" pitchFamily="34" charset="0"/>
              <a:ea typeface="+mj-ea"/>
              <a:cs typeface="+mj-cs"/>
              <a:sym typeface="Source Sans Pro" panose="020B0503030403020204" pitchFamily="34" charset="0"/>
            </a:endParaRPr>
          </a:p>
        </p:txBody>
      </p:sp>
      <p:pic>
        <p:nvPicPr>
          <p:cNvPr id="10" name="Tijdelijke aanduiding voor afbeelding 40">
            <a:extLst>
              <a:ext uri="{FF2B5EF4-FFF2-40B4-BE49-F238E27FC236}">
                <a16:creationId xmlns:a16="http://schemas.microsoft.com/office/drawing/2014/main" id="{A49C6E6F-6C57-4AAA-9536-FC7D591699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434"/>
            <a:ext cx="12197375" cy="6856566"/>
          </a:xfrm>
          <a:prstGeom prst="rect">
            <a:avLst/>
          </a:prstGeom>
        </p:spPr>
      </p:pic>
      <p:sp>
        <p:nvSpPr>
          <p:cNvPr id="7" name="Tekstvak 6"/>
          <p:cNvSpPr txBox="1"/>
          <p:nvPr userDrawn="1"/>
        </p:nvSpPr>
        <p:spPr>
          <a:xfrm>
            <a:off x="-10750" y="-662296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914400" rtl="0" eaLnBrk="1" latinLnBrk="0" hangingPunct="1"/>
            <a:r>
              <a:rPr lang="en-US" sz="2400" b="0" kern="1200" spc="50" baseline="0">
                <a:solidFill>
                  <a:schemeClr val="accent2"/>
                </a:solidFill>
                <a:latin typeface="+mj-lt"/>
                <a:ea typeface="+mn-ea"/>
                <a:cs typeface="Calibri" panose="020F0502020204030204" pitchFamily="34" charset="0"/>
              </a:rPr>
              <a:t>Closure #1</a:t>
            </a:r>
          </a:p>
        </p:txBody>
      </p:sp>
      <p:sp>
        <p:nvSpPr>
          <p:cNvPr id="20" name="Tijdelijke aanduiding voor tekst 19">
            <a:extLst>
              <a:ext uri="{FF2B5EF4-FFF2-40B4-BE49-F238E27FC236}">
                <a16:creationId xmlns:a16="http://schemas.microsoft.com/office/drawing/2014/main" id="{9884E09B-B1D9-42DF-89AB-4BEC37641F3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27704" y="676772"/>
            <a:ext cx="6969863" cy="5861627"/>
          </a:xfrm>
          <a:custGeom>
            <a:avLst/>
            <a:gdLst>
              <a:gd name="connsiteX0" fmla="*/ 5160349 w 6969863"/>
              <a:gd name="connsiteY0" fmla="*/ 201 h 5861627"/>
              <a:gd name="connsiteX1" fmla="*/ 5295282 w 6969863"/>
              <a:gd name="connsiteY1" fmla="*/ 72996 h 5861627"/>
              <a:gd name="connsiteX2" fmla="*/ 6949743 w 6969863"/>
              <a:gd name="connsiteY2" fmla="*/ 2905615 h 5861627"/>
              <a:gd name="connsiteX3" fmla="*/ 6896826 w 6969863"/>
              <a:gd name="connsiteY3" fmla="*/ 3107150 h 5861627"/>
              <a:gd name="connsiteX4" fmla="*/ 2216388 w 6969863"/>
              <a:gd name="connsiteY4" fmla="*/ 5841451 h 5861627"/>
              <a:gd name="connsiteX5" fmla="*/ 2014624 w 6969863"/>
              <a:gd name="connsiteY5" fmla="*/ 5788279 h 5861627"/>
              <a:gd name="connsiteX6" fmla="*/ 1128857 w 6969863"/>
              <a:gd name="connsiteY6" fmla="*/ 4264233 h 5861627"/>
              <a:gd name="connsiteX7" fmla="*/ 2174 w 6969863"/>
              <a:gd name="connsiteY7" fmla="*/ 599279 h 5861627"/>
              <a:gd name="connsiteX8" fmla="*/ 10 w 6969863"/>
              <a:gd name="connsiteY8" fmla="*/ 406785 h 5861627"/>
              <a:gd name="connsiteX9" fmla="*/ 142755 w 6969863"/>
              <a:gd name="connsiteY9" fmla="*/ 257749 h 5861627"/>
              <a:gd name="connsiteX10" fmla="*/ 332447 w 6969863"/>
              <a:gd name="connsiteY10" fmla="*/ 251786 h 58616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969863" h="5861627">
                <a:moveTo>
                  <a:pt x="5160349" y="201"/>
                </a:moveTo>
                <a:cubicBezTo>
                  <a:pt x="5215431" y="-2672"/>
                  <a:pt x="5267428" y="25450"/>
                  <a:pt x="5295282" y="72996"/>
                </a:cubicBezTo>
                <a:lnTo>
                  <a:pt x="6949743" y="2905615"/>
                </a:lnTo>
                <a:cubicBezTo>
                  <a:pt x="6990770" y="2975841"/>
                  <a:pt x="6967052" y="3066122"/>
                  <a:pt x="6896826" y="3107150"/>
                </a:cubicBezTo>
                <a:lnTo>
                  <a:pt x="2216388" y="5841451"/>
                </a:lnTo>
                <a:cubicBezTo>
                  <a:pt x="2145992" y="5882632"/>
                  <a:pt x="2055556" y="5858743"/>
                  <a:pt x="2014624" y="5788279"/>
                </a:cubicBezTo>
                <a:lnTo>
                  <a:pt x="1128857" y="4264233"/>
                </a:lnTo>
                <a:cubicBezTo>
                  <a:pt x="384147" y="2998055"/>
                  <a:pt x="14734" y="1768504"/>
                  <a:pt x="2174" y="599279"/>
                </a:cubicBezTo>
                <a:lnTo>
                  <a:pt x="10" y="406785"/>
                </a:lnTo>
                <a:cubicBezTo>
                  <a:pt x="-893" y="326491"/>
                  <a:pt x="62539" y="260279"/>
                  <a:pt x="142755" y="257749"/>
                </a:cubicBezTo>
                <a:lnTo>
                  <a:pt x="332447" y="25178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itel 5">
            <a:extLst>
              <a:ext uri="{FF2B5EF4-FFF2-40B4-BE49-F238E27FC236}">
                <a16:creationId xmlns:a16="http://schemas.microsoft.com/office/drawing/2014/main" id="{EE39DDA7-921D-4256-A30C-B0B1FE7EAB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6823" y="2179631"/>
            <a:ext cx="3890852" cy="1068394"/>
          </a:xfrm>
        </p:spPr>
        <p:txBody>
          <a:bodyPr/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Template </a:t>
            </a:r>
            <a:br>
              <a:rPr lang="en-US" noProof="0"/>
            </a:br>
            <a:r>
              <a:rPr lang="en-US" noProof="0"/>
              <a:t>for a short title</a:t>
            </a:r>
            <a:endParaRPr lang="en-US"/>
          </a:p>
        </p:txBody>
      </p:sp>
      <p:sp>
        <p:nvSpPr>
          <p:cNvPr id="15" name="Tijdelijke aanduiding voor verticale tekst 2">
            <a:extLst>
              <a:ext uri="{FF2B5EF4-FFF2-40B4-BE49-F238E27FC236}">
                <a16:creationId xmlns:a16="http://schemas.microsoft.com/office/drawing/2014/main" id="{6AD5D99D-20DD-4C09-B9C7-9F30D637954C}"/>
              </a:ext>
            </a:extLst>
          </p:cNvPr>
          <p:cNvSpPr>
            <a:spLocks noGrp="1"/>
          </p:cNvSpPr>
          <p:nvPr>
            <p:ph type="body" orient="vert" idx="13" hasCustomPrompt="1"/>
          </p:nvPr>
        </p:nvSpPr>
        <p:spPr>
          <a:xfrm>
            <a:off x="4167094" y="3905369"/>
            <a:ext cx="2872061" cy="800121"/>
          </a:xfrm>
        </p:spPr>
        <p:txBody>
          <a:bodyPr vert="horz" lIns="0" tIns="0" rIns="0" bIns="0"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2"/>
                </a:solidFill>
              </a:defRPr>
            </a:lvl1pPr>
            <a:lvl2pPr marL="217488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/>
              <a:t>Place your info here</a:t>
            </a:r>
          </a:p>
        </p:txBody>
      </p:sp>
      <p:sp>
        <p:nvSpPr>
          <p:cNvPr id="17" name="Tijdelijke aanduiding voor tekst 19">
            <a:extLst>
              <a:ext uri="{FF2B5EF4-FFF2-40B4-BE49-F238E27FC236}">
                <a16:creationId xmlns:a16="http://schemas.microsoft.com/office/drawing/2014/main" id="{57165869-05DA-4A5C-B326-CE4ED7D95B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83580" y="1769550"/>
            <a:ext cx="1840072" cy="164379"/>
          </a:xfrm>
          <a:prstGeom prst="rect">
            <a:avLst/>
          </a:prstGeo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10141" b="7644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Tijdelijke aanduiding voor verticale tekst 2">
            <a:extLst>
              <a:ext uri="{FF2B5EF4-FFF2-40B4-BE49-F238E27FC236}">
                <a16:creationId xmlns:a16="http://schemas.microsoft.com/office/drawing/2014/main" id="{0F32F0C8-26CC-46EF-8D20-54B4A419224C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4167094" y="3618816"/>
            <a:ext cx="2872061" cy="286554"/>
          </a:xfrm>
        </p:spPr>
        <p:txBody>
          <a:bodyPr vert="horz" lIns="0" tIns="0" rIns="0" b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5"/>
                </a:solidFill>
              </a:defRPr>
            </a:lvl1pPr>
            <a:lvl2pPr marL="217488" indent="0">
              <a:buNone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Name speaker</a:t>
            </a:r>
          </a:p>
        </p:txBody>
      </p:sp>
      <p:sp>
        <p:nvSpPr>
          <p:cNvPr id="9" name="Tijdelijke aanduiding voor dianummer 4">
            <a:extLst>
              <a:ext uri="{FF2B5EF4-FFF2-40B4-BE49-F238E27FC236}">
                <a16:creationId xmlns:a16="http://schemas.microsoft.com/office/drawing/2014/main" id="{95883B6D-BB67-4DC5-AF47-77914C19FB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680" y="6274117"/>
            <a:ext cx="44204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9877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86361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de-DE"/>
              <a:t>September 2020</a:t>
            </a:r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D1B3F13-33BE-4C69-A8C2-A055FF632A5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9999" y="2133600"/>
            <a:ext cx="10933199" cy="38989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6DF2B713-AC63-411A-A6EC-539CD5F849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0237" y="1093788"/>
            <a:ext cx="10931763" cy="811212"/>
          </a:xfrm>
        </p:spPr>
        <p:txBody>
          <a:bodyPr/>
          <a:lstStyle>
            <a:lvl1pPr>
              <a:defRPr sz="2400">
                <a:solidFill>
                  <a:schemeClr val="tx2"/>
                </a:solidFill>
                <a:latin typeface="TeleGrotesk Next" pitchFamily="2" charset="0"/>
                <a:ea typeface="TeleGrotesk Next" pitchFamily="2" charset="0"/>
                <a:cs typeface="TeleGrotesk Next" pitchFamily="2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sub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30904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olkswagen 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8920269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93" imgH="493" progId="TCLayout.ActiveDocument.1">
                  <p:embed/>
                </p:oleObj>
              </mc:Choice>
              <mc:Fallback>
                <p:oleObj name="think-cell Folie" r:id="rId4" imgW="493" imgH="493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5385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3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VW Head Office" panose="020B0504040200000003" pitchFamily="34" charset="0"/>
              <a:ea typeface="+mj-ea"/>
              <a:cs typeface="+mj-cs"/>
              <a:sym typeface="VW Head Office" panose="020B0504040200000003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97539" y="287338"/>
            <a:ext cx="9997462" cy="900112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/>
              <a:t>Titelmasterformat durch Klicken bearbeiten</a:t>
            </a:r>
            <a:br>
              <a:rPr lang="de-DE" noProof="0"/>
            </a:br>
            <a:r>
              <a:rPr lang="en-US" sz="2400" b="0" err="1">
                <a:solidFill>
                  <a:schemeClr val="bg1">
                    <a:lumMod val="65000"/>
                  </a:schemeClr>
                </a:solidFill>
              </a:rPr>
              <a:t>Untertitel</a:t>
            </a:r>
            <a:r>
              <a:rPr lang="en-US" sz="2400" b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n-US" sz="2400" b="0" err="1">
                <a:solidFill>
                  <a:schemeClr val="bg1">
                    <a:lumMod val="65000"/>
                  </a:schemeClr>
                </a:solidFill>
              </a:rPr>
              <a:t>bearbeiten</a:t>
            </a:r>
            <a:endParaRPr lang="de-DE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9901044F-E77D-4DF5-B914-F13AD311C5C7}" type="datetime1">
              <a:rPr lang="en-US" smtClean="0">
                <a:solidFill>
                  <a:srgbClr val="33434C"/>
                </a:solidFill>
              </a:rPr>
              <a:t>12/1/2022</a:t>
            </a:fld>
            <a:endParaRPr lang="de-DE">
              <a:solidFill>
                <a:srgbClr val="33434C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>
                <a:solidFill>
                  <a:srgbClr val="33434C"/>
                </a:solidFill>
              </a:rPr>
              <a:t>Volkswagen After Sales | WEB-Shop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3"/>
          </p:nvPr>
        </p:nvSpPr>
        <p:spPr>
          <a:xfrm>
            <a:off x="797538" y="6480000"/>
            <a:ext cx="443077" cy="144000"/>
          </a:xfrm>
        </p:spPr>
        <p:txBody>
          <a:bodyPr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l"/>
            <a:fld id="{A5BB97A9-7D72-4F8F-8BC5-4E547C3F4DC5}" type="slidenum">
              <a:rPr lang="de-DE" smtClean="0">
                <a:solidFill>
                  <a:srgbClr val="33434C"/>
                </a:solidFill>
              </a:rPr>
              <a:pPr algn="l"/>
              <a:t>‹N›</a:t>
            </a:fld>
            <a:endParaRPr lang="de-DE">
              <a:solidFill>
                <a:srgbClr val="33434C"/>
              </a:solidFill>
            </a:endParaRPr>
          </a:p>
        </p:txBody>
      </p:sp>
      <p:grpSp>
        <p:nvGrpSpPr>
          <p:cNvPr id="13" name="Gruppieren 12"/>
          <p:cNvGrpSpPr>
            <a:grpSpLocks/>
          </p:cNvGrpSpPr>
          <p:nvPr userDrawn="1"/>
        </p:nvGrpSpPr>
        <p:grpSpPr bwMode="auto">
          <a:xfrm>
            <a:off x="10810613" y="5729288"/>
            <a:ext cx="1362823" cy="1107294"/>
            <a:chOff x="237600" y="302400"/>
            <a:chExt cx="1296778" cy="1296778"/>
          </a:xfrm>
        </p:grpSpPr>
        <p:pic>
          <p:nvPicPr>
            <p:cNvPr id="14" name="Grafik 13"/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7600" y="302400"/>
              <a:ext cx="1296778" cy="12967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" name="Grafik 14"/>
            <p:cNvPicPr>
              <a:picLocks noChangeAspect="1"/>
            </p:cNvPicPr>
            <p:nvPr userDrawn="1"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5919" y="691536"/>
              <a:ext cx="520696" cy="5206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6610128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lines + fixed imag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" name="Tijdelijke aanduiding voor afbeelding 40">
            <a:extLst>
              <a:ext uri="{FF2B5EF4-FFF2-40B4-BE49-F238E27FC236}">
                <a16:creationId xmlns:a16="http://schemas.microsoft.com/office/drawing/2014/main" id="{92FD77CD-E611-4581-9C79-6AC0A3CDF9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3792" b="13792"/>
          <a:stretch/>
        </p:blipFill>
        <p:spPr>
          <a:xfrm>
            <a:off x="2" y="1434"/>
            <a:ext cx="12197375" cy="6856567"/>
          </a:xfrm>
          <a:prstGeom prst="rect">
            <a:avLst/>
          </a:prstGeom>
        </p:spPr>
      </p:pic>
      <p:sp>
        <p:nvSpPr>
          <p:cNvPr id="22" name="Tijdelijke aanduiding voor tekst 21">
            <a:extLst>
              <a:ext uri="{FF2B5EF4-FFF2-40B4-BE49-F238E27FC236}">
                <a16:creationId xmlns:a16="http://schemas.microsoft.com/office/drawing/2014/main" id="{002D0498-94A0-40FD-B973-91622C2A79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11113" y="-1"/>
            <a:ext cx="7289277" cy="4827069"/>
          </a:xfrm>
          <a:custGeom>
            <a:avLst/>
            <a:gdLst>
              <a:gd name="connsiteX0" fmla="*/ 0 w 7289277"/>
              <a:gd name="connsiteY0" fmla="*/ 0 h 4827069"/>
              <a:gd name="connsiteX1" fmla="*/ 6313176 w 7289277"/>
              <a:gd name="connsiteY1" fmla="*/ 0 h 4827069"/>
              <a:gd name="connsiteX2" fmla="*/ 6420957 w 7289277"/>
              <a:gd name="connsiteY2" fmla="*/ 202272 h 4827069"/>
              <a:gd name="connsiteX3" fmla="*/ 7221911 w 7289277"/>
              <a:gd name="connsiteY3" fmla="*/ 2391463 h 4827069"/>
              <a:gd name="connsiteX4" fmla="*/ 7283962 w 7289277"/>
              <a:gd name="connsiteY4" fmla="*/ 2668064 h 4827069"/>
              <a:gd name="connsiteX5" fmla="*/ 7123985 w 7289277"/>
              <a:gd name="connsiteY5" fmla="*/ 2926435 h 4827069"/>
              <a:gd name="connsiteX6" fmla="*/ 6852583 w 7289277"/>
              <a:gd name="connsiteY6" fmla="*/ 2993100 h 4827069"/>
              <a:gd name="connsiteX7" fmla="*/ 0 w 7289277"/>
              <a:gd name="connsiteY7" fmla="*/ 4827069 h 48270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89277" h="4827069">
                <a:moveTo>
                  <a:pt x="0" y="0"/>
                </a:moveTo>
                <a:lnTo>
                  <a:pt x="6313176" y="0"/>
                </a:lnTo>
                <a:lnTo>
                  <a:pt x="6420957" y="202272"/>
                </a:lnTo>
                <a:cubicBezTo>
                  <a:pt x="6790939" y="925501"/>
                  <a:pt x="7057384" y="1656342"/>
                  <a:pt x="7221911" y="2391463"/>
                </a:cubicBezTo>
                <a:lnTo>
                  <a:pt x="7283962" y="2668064"/>
                </a:lnTo>
                <a:cubicBezTo>
                  <a:pt x="7309846" y="2783440"/>
                  <a:pt x="7238751" y="2898232"/>
                  <a:pt x="7123985" y="2926435"/>
                </a:cubicBezTo>
                <a:lnTo>
                  <a:pt x="6852583" y="2993100"/>
                </a:lnTo>
                <a:lnTo>
                  <a:pt x="0" y="482706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5" name="Titel 5">
            <a:extLst>
              <a:ext uri="{FF2B5EF4-FFF2-40B4-BE49-F238E27FC236}">
                <a16:creationId xmlns:a16="http://schemas.microsoft.com/office/drawing/2014/main" id="{20DBEB7A-7FB1-4F46-90EC-A1F387B9FD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9517" y="1298686"/>
            <a:ext cx="5651923" cy="1141855"/>
          </a:xfrm>
        </p:spPr>
        <p:txBody>
          <a:bodyPr/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GB" noProof="0"/>
              <a:t>Template for  a long title</a:t>
            </a:r>
            <a:br>
              <a:rPr lang="en-GB" noProof="0"/>
            </a:br>
            <a:r>
              <a:rPr lang="en-GB" noProof="0"/>
              <a:t>over two lines</a:t>
            </a:r>
            <a:endParaRPr lang="en-GB"/>
          </a:p>
        </p:txBody>
      </p:sp>
      <p:sp>
        <p:nvSpPr>
          <p:cNvPr id="77" name="Tijdelijke aanduiding voor tekst 19">
            <a:extLst>
              <a:ext uri="{FF2B5EF4-FFF2-40B4-BE49-F238E27FC236}">
                <a16:creationId xmlns:a16="http://schemas.microsoft.com/office/drawing/2014/main" id="{3C679BF6-C6F0-4DA8-9300-B2D0B37F8B8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1339" y="899559"/>
            <a:ext cx="1369048" cy="122301"/>
          </a:xfrm>
          <a:prstGeom prst="rect">
            <a:avLst/>
          </a:prstGeom>
          <a:blipFill>
            <a:blip r:embed="rId3"/>
            <a:srcRect/>
            <a:stretch>
              <a:fillRect t="10141" b="7644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79" name="Tijdelijke aanduiding voor dianummer 4">
            <a:extLst>
              <a:ext uri="{FF2B5EF4-FFF2-40B4-BE49-F238E27FC236}">
                <a16:creationId xmlns:a16="http://schemas.microsoft.com/office/drawing/2014/main" id="{04FBD8C2-773E-433F-9CFF-8DA4191BC1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681" y="6274118"/>
            <a:ext cx="44204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80" name="Tijdelijke aanduiding voor verticale tekst 2">
            <a:extLst>
              <a:ext uri="{FF2B5EF4-FFF2-40B4-BE49-F238E27FC236}">
                <a16:creationId xmlns:a16="http://schemas.microsoft.com/office/drawing/2014/main" id="{2C010E1F-388C-442E-AA8D-242FE9E7504D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899789" y="2612275"/>
            <a:ext cx="5661651" cy="267480"/>
          </a:xfrm>
        </p:spPr>
        <p:txBody>
          <a:bodyPr vert="horz" lIns="0" tIns="0" rIns="0" bIns="0"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  <a:lvl2pPr marL="217483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 algn="l"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Name | function</a:t>
            </a:r>
          </a:p>
        </p:txBody>
      </p:sp>
      <p:sp>
        <p:nvSpPr>
          <p:cNvPr id="81" name="Tijdelijke aanduiding voor verticale tekst 2">
            <a:extLst>
              <a:ext uri="{FF2B5EF4-FFF2-40B4-BE49-F238E27FC236}">
                <a16:creationId xmlns:a16="http://schemas.microsoft.com/office/drawing/2014/main" id="{C9D54F36-AE63-4F00-9327-CE8E60D07CBF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899788" y="3038892"/>
            <a:ext cx="1694000" cy="183397"/>
          </a:xfrm>
        </p:spPr>
        <p:txBody>
          <a:bodyPr vert="horz" lIns="0" tIns="0" rIns="0" bIns="0" anchor="ctr"/>
          <a:lstStyle>
            <a:lvl1pPr marL="0" indent="0">
              <a:buNone/>
              <a:defRPr sz="1100">
                <a:solidFill>
                  <a:schemeClr val="accent2"/>
                </a:solidFill>
              </a:defRPr>
            </a:lvl1pPr>
            <a:lvl2pPr marL="217483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Location</a:t>
            </a:r>
          </a:p>
        </p:txBody>
      </p:sp>
      <p:sp>
        <p:nvSpPr>
          <p:cNvPr id="82" name="Tijdelijke aanduiding voor verticale tekst 2">
            <a:extLst>
              <a:ext uri="{FF2B5EF4-FFF2-40B4-BE49-F238E27FC236}">
                <a16:creationId xmlns:a16="http://schemas.microsoft.com/office/drawing/2014/main" id="{38A0CCA9-60C5-4DD0-9264-CECACC8C2409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99788" y="3233487"/>
            <a:ext cx="1694000" cy="183397"/>
          </a:xfrm>
        </p:spPr>
        <p:txBody>
          <a:bodyPr vert="horz" lIns="0" tIns="0" rIns="0" bIns="0" anchor="ctr"/>
          <a:lstStyle>
            <a:lvl1pPr marL="0" marR="0" indent="0" algn="l" defTabSz="71912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  <a:tabLst/>
              <a:defRPr sz="1100">
                <a:solidFill>
                  <a:schemeClr val="accent2"/>
                </a:solidFill>
              </a:defRPr>
            </a:lvl1pPr>
            <a:lvl2pPr marL="217483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marL="0" marR="0" lvl="0" indent="0" algn="l" defTabSz="71912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  <a:tabLst/>
              <a:defRPr/>
            </a:pPr>
            <a:r>
              <a:rPr lang="en-GB" noProof="0"/>
              <a:t>Date</a:t>
            </a:r>
          </a:p>
          <a:p>
            <a:pPr lvl="0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389098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/>
          <p:cNvSpPr txBox="1"/>
          <p:nvPr userDrawn="1"/>
        </p:nvSpPr>
        <p:spPr>
          <a:xfrm rot="16200000">
            <a:off x="9486901" y="3922562"/>
            <a:ext cx="5133975" cy="968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69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0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1" y="622801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81482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 Slide With Headline And A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1060963"/>
              </p:ext>
            </p:extLst>
          </p:nvPr>
        </p:nvGraphicFramePr>
        <p:xfrm>
          <a:off x="1681" y="1680"/>
          <a:ext cx="1679" cy="167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5" imgH="416" progId="TCLayout.ActiveDocument.1">
                  <p:embed/>
                </p:oleObj>
              </mc:Choice>
              <mc:Fallback>
                <p:oleObj name="think-cell Folie" r:id="rId3" imgW="415" imgH="4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81" y="1680"/>
                        <a:ext cx="1679" cy="167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04747" y="443882"/>
            <a:ext cx="11124624" cy="70304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538" b="1" baseline="0">
                <a:solidFill>
                  <a:srgbClr val="12276E"/>
                </a:solidFill>
              </a:defRPr>
            </a:lvl1pPr>
          </a:lstStyle>
          <a:p>
            <a:pPr lvl="0"/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2367" y="6394337"/>
            <a:ext cx="879528" cy="268274"/>
          </a:xfrm>
          <a:prstGeom prst="rect">
            <a:avLst/>
          </a:prstGeom>
        </p:spPr>
      </p:pic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5725" y="2518"/>
            <a:ext cx="11123646" cy="35485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4000"/>
              </a:lnSpc>
              <a:defRPr sz="1163" b="1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8" name="Textfeld 7"/>
          <p:cNvSpPr txBox="1"/>
          <p:nvPr userDrawn="1"/>
        </p:nvSpPr>
        <p:spPr>
          <a:xfrm>
            <a:off x="5662387" y="6503461"/>
            <a:ext cx="868524" cy="186548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/>
            <a:fld id="{FAAB48A4-D341-4AE9-8566-EA7878570C6A}" type="slidenum">
              <a:rPr lang="de-DE" sz="1163" smtClean="0">
                <a:solidFill>
                  <a:srgbClr val="4B4B4B"/>
                </a:solidFill>
              </a:rPr>
              <a:t>‹N›</a:t>
            </a:fld>
            <a:endParaRPr lang="en-US" sz="1163">
              <a:solidFill>
                <a:srgbClr val="4B4B4B"/>
              </a:solidFill>
            </a:endParaRPr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0158" y="6400915"/>
            <a:ext cx="1150980" cy="261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6596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75">
          <p15:clr>
            <a:srgbClr val="5ACBF0"/>
          </p15:clr>
        </p15:guide>
        <p15:guide id="2" orient="horz" pos="750">
          <p15:clr>
            <a:srgbClr val="5ACBF0"/>
          </p15:clr>
        </p15:guide>
        <p15:guide id="3" pos="182">
          <p15:clr>
            <a:srgbClr val="5ACBF0"/>
          </p15:clr>
        </p15:guide>
        <p15:guide id="4" pos="6804">
          <p15:clr>
            <a:srgbClr val="5ACBF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385234" y="511176"/>
            <a:ext cx="11421533" cy="664797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/>
              <a:t>Action Title</a:t>
            </a:r>
            <a:br>
              <a:rPr lang="de-DE"/>
            </a:br>
            <a:r>
              <a:rPr lang="de-DE"/>
              <a:t>Arial </a:t>
            </a:r>
            <a:r>
              <a:rPr lang="de-DE" err="1"/>
              <a:t>Bold</a:t>
            </a:r>
            <a:r>
              <a:rPr lang="de-DE"/>
              <a:t>, 24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13" name="Inhaltsplatzhalter 17"/>
          <p:cNvSpPr>
            <a:spLocks noGrp="1"/>
          </p:cNvSpPr>
          <p:nvPr>
            <p:ph sz="quarter" idx="12" hasCustomPrompt="1"/>
          </p:nvPr>
        </p:nvSpPr>
        <p:spPr>
          <a:xfrm>
            <a:off x="384001" y="1609726"/>
            <a:ext cx="11422766" cy="45989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</a:t>
            </a:r>
            <a:r>
              <a:rPr lang="de-DE" err="1"/>
              <a:t>text</a:t>
            </a:r>
            <a:endParaRPr lang="de-DE"/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 err="1"/>
              <a:t>Fourth</a:t>
            </a:r>
            <a:r>
              <a:rPr lang="de-DE"/>
              <a:t> Level</a:t>
            </a:r>
          </a:p>
          <a:p>
            <a:pPr lvl="4"/>
            <a:r>
              <a:rPr lang="de-DE" err="1"/>
              <a:t>Fifth</a:t>
            </a:r>
            <a:r>
              <a:rPr lang="de-DE"/>
              <a:t> Level</a:t>
            </a: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85234" y="2"/>
            <a:ext cx="11421533" cy="33470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4000"/>
              </a:lnSpc>
              <a:defRPr sz="1100" b="1">
                <a:solidFill>
                  <a:schemeClr val="tx1"/>
                </a:solidFill>
              </a:defRPr>
            </a:lvl1pPr>
          </a:lstStyle>
          <a:p>
            <a:r>
              <a:rPr lang="en-US"/>
              <a:t>Headline</a:t>
            </a:r>
            <a:endParaRPr lang="de-DE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3253569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>
            <a:extLst>
              <a:ext uri="{FF2B5EF4-FFF2-40B4-BE49-F238E27FC236}">
                <a16:creationId xmlns:a16="http://schemas.microsoft.com/office/drawing/2014/main" id="{7CE2F7A1-794E-4C1A-8923-B780235AA9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545" y="365126"/>
            <a:ext cx="8630539" cy="94939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600" cap="all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BA90E0DD-BFB4-4C01-8E41-C0E12F316D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6498" y="1628775"/>
            <a:ext cx="11510540" cy="47207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Datumsplatzhalter 2">
            <a:extLst>
              <a:ext uri="{FF2B5EF4-FFF2-40B4-BE49-F238E27FC236}">
                <a16:creationId xmlns:a16="http://schemas.microsoft.com/office/drawing/2014/main" id="{C649581C-B6A0-4ADD-9A68-2E2C310DBA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59871" y="6451600"/>
            <a:ext cx="1654834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B43D10F-79D5-4C23-8AF7-34CD7C9043A4}" type="datetimeFigureOut">
              <a:rPr lang="de-DE" smtClean="0"/>
              <a:t>01.12.2022</a:t>
            </a:fld>
            <a:endParaRPr lang="de-DE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FFB5577F-E89F-4B57-B1F5-B810ABB2E1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9440" y="6451600"/>
            <a:ext cx="2881223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Foliennummernplatzhalter 4">
            <a:extLst>
              <a:ext uri="{FF2B5EF4-FFF2-40B4-BE49-F238E27FC236}">
                <a16:creationId xmlns:a16="http://schemas.microsoft.com/office/drawing/2014/main" id="{F4A57DB2-3DAA-4091-B8F5-C12A11B7DD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06966" y="6451600"/>
            <a:ext cx="1654834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7AFB2C-C9CA-4936-8C00-1B721D59D273}" type="slidenum">
              <a:rPr lang="de-DE" smtClean="0"/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99624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7469">
          <p15:clr>
            <a:srgbClr val="FBAE40"/>
          </p15:clr>
        </p15:guide>
        <p15:guide id="3" pos="211">
          <p15:clr>
            <a:srgbClr val="FBAE40"/>
          </p15:clr>
        </p15:guide>
        <p15:guide id="4" orient="horz" pos="102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3">
            <a:extLst>
              <a:ext uri="{FF2B5EF4-FFF2-40B4-BE49-F238E27FC236}">
                <a16:creationId xmlns:a16="http://schemas.microsoft.com/office/drawing/2014/main" id="{0A87AF5C-51BC-532C-FB53-B578E79D9C9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618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EBB8E7D-006B-4872-8736-F8626F15B11A}" type="datetimeFigureOut">
              <a:rPr lang="it-IT" altLang="it-IT"/>
              <a:pPr>
                <a:defRPr/>
              </a:pPr>
              <a:t>01/12/2022</a:t>
            </a:fld>
            <a:endParaRPr lang="it-IT" altLang="it-IT"/>
          </a:p>
        </p:txBody>
      </p:sp>
      <p:sp>
        <p:nvSpPr>
          <p:cNvPr id="3" name="Segnaposto piè di pagina 4">
            <a:extLst>
              <a:ext uri="{FF2B5EF4-FFF2-40B4-BE49-F238E27FC236}">
                <a16:creationId xmlns:a16="http://schemas.microsoft.com/office/drawing/2014/main" id="{9C7D2C72-0BC7-7535-753E-F2D353BECA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618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it-IT" altLang="it-IT"/>
          </a:p>
        </p:txBody>
      </p:sp>
      <p:sp>
        <p:nvSpPr>
          <p:cNvPr id="4" name="Segnaposto numero diapositiva 5">
            <a:extLst>
              <a:ext uri="{FF2B5EF4-FFF2-40B4-BE49-F238E27FC236}">
                <a16:creationId xmlns:a16="http://schemas.microsoft.com/office/drawing/2014/main" id="{8ADF76C0-4935-F5D6-0295-A47B074DAA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618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DE61C820-5C26-408D-BF82-79258EAE0149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925769625"/>
      </p:ext>
    </p:extLst>
  </p:cSld>
  <p:clrMapOvr>
    <a:masterClrMapping/>
  </p:clrMapOvr>
  <p:transition spd="med"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735627" y="3645024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35FFE859-8D82-C010-C810-C6345B5C72B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618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8A776360-C766-4CFF-9297-06F6F67E52C1}" type="datetimeFigureOut">
              <a:rPr lang="it-IT" altLang="it-IT"/>
              <a:pPr>
                <a:defRPr/>
              </a:pPr>
              <a:t>01/12/2022</a:t>
            </a:fld>
            <a:endParaRPr lang="it-IT" alt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6F92E72B-CFFC-8E1D-905B-CAE3D4BBD9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618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it-IT" alt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BAD07F0-EC65-FB66-6F41-14B64DCEA7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618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E82F07A1-6DFC-4FEC-A771-EA953F6DE763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3171975451"/>
      </p:ext>
    </p:extLst>
  </p:cSld>
  <p:clrMapOvr>
    <a:masterClrMapping/>
  </p:clrMapOvr>
  <p:transition spd="med"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6A75E80B-0812-1E3A-CE87-F38A217CA47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618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D13A3042-C92C-404D-8A4F-5DAB1150D6AD}" type="datetimeFigureOut">
              <a:rPr lang="it-IT" altLang="it-IT"/>
              <a:pPr>
                <a:defRPr/>
              </a:pPr>
              <a:t>01/12/2022</a:t>
            </a:fld>
            <a:endParaRPr lang="it-IT" alt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31714E61-25C6-255D-74CD-C9B682BAB2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618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it-IT" alt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57C9B5CB-822C-BAFA-7871-8BAB909C05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618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1CF52790-A92F-455C-9991-219FF5BDB051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2672481549"/>
      </p:ext>
    </p:extLst>
  </p:cSld>
  <p:clrMapOvr>
    <a:masterClrMapping/>
  </p:clrMapOvr>
  <p:transition spd="med"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735627" y="3645024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6FD24884-F3B1-FA08-62CE-3844A4C0E0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618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A62DA064-9509-46D4-BF15-7908F48EF260}" type="datetimeFigureOut">
              <a:rPr lang="it-IT" altLang="it-IT"/>
              <a:pPr>
                <a:defRPr/>
              </a:pPr>
              <a:t>01/12/2022</a:t>
            </a:fld>
            <a:endParaRPr lang="it-IT" altLang="it-IT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4F07334-3C4B-2867-994C-0F038523A4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618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it-IT" altLang="it-IT"/>
          </a:p>
        </p:txBody>
      </p:sp>
      <p:sp>
        <p:nvSpPr>
          <p:cNvPr id="7" name="Segnaposto numero diapositiva 5">
            <a:extLst>
              <a:ext uri="{FF2B5EF4-FFF2-40B4-BE49-F238E27FC236}">
                <a16:creationId xmlns:a16="http://schemas.microsoft.com/office/drawing/2014/main" id="{E4B6EA88-D48A-6EE6-BE2B-85CAAAFE5A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618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1F129E9D-92F3-4172-A71E-6861D93F6899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124376739"/>
      </p:ext>
    </p:extLst>
  </p:cSld>
  <p:clrMapOvr>
    <a:masterClrMapping/>
  </p:clrMapOvr>
  <p:transition spd="med"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735627" y="3645024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6193378" y="1535113"/>
            <a:ext cx="5389033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619337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3">
            <a:extLst>
              <a:ext uri="{FF2B5EF4-FFF2-40B4-BE49-F238E27FC236}">
                <a16:creationId xmlns:a16="http://schemas.microsoft.com/office/drawing/2014/main" id="{178607B7-288A-CE34-823B-1E4FBCD9F0B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618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23DF918D-CFD7-4869-A477-0CD06C747695}" type="datetimeFigureOut">
              <a:rPr lang="it-IT" altLang="it-IT"/>
              <a:pPr>
                <a:defRPr/>
              </a:pPr>
              <a:t>01/12/2022</a:t>
            </a:fld>
            <a:endParaRPr lang="it-IT" altLang="it-IT"/>
          </a:p>
        </p:txBody>
      </p:sp>
      <p:sp>
        <p:nvSpPr>
          <p:cNvPr id="8" name="Segnaposto piè di pagina 4">
            <a:extLst>
              <a:ext uri="{FF2B5EF4-FFF2-40B4-BE49-F238E27FC236}">
                <a16:creationId xmlns:a16="http://schemas.microsoft.com/office/drawing/2014/main" id="{2D2356D7-1062-76B1-AE29-6898584B94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618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it-IT" altLang="it-IT"/>
          </a:p>
        </p:txBody>
      </p:sp>
      <p:sp>
        <p:nvSpPr>
          <p:cNvPr id="9" name="Segnaposto numero diapositiva 5">
            <a:extLst>
              <a:ext uri="{FF2B5EF4-FFF2-40B4-BE49-F238E27FC236}">
                <a16:creationId xmlns:a16="http://schemas.microsoft.com/office/drawing/2014/main" id="{3A2F729F-99CB-E611-5CBC-1F5537A4E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618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1739A9B1-1E69-4C24-A9B8-3FFD1F208854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3271242934"/>
      </p:ext>
    </p:extLst>
  </p:cSld>
  <p:clrMapOvr>
    <a:masterClrMapping/>
  </p:clrMapOvr>
  <p:transition spd="med"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735627" y="3645024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data 3">
            <a:extLst>
              <a:ext uri="{FF2B5EF4-FFF2-40B4-BE49-F238E27FC236}">
                <a16:creationId xmlns:a16="http://schemas.microsoft.com/office/drawing/2014/main" id="{BA651C7B-35D8-351B-B7E9-035E6EBE1EF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618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00D24F97-8969-4843-84F4-44BBBCC871EF}" type="datetimeFigureOut">
              <a:rPr lang="it-IT" altLang="it-IT"/>
              <a:pPr>
                <a:defRPr/>
              </a:pPr>
              <a:t>01/12/2022</a:t>
            </a:fld>
            <a:endParaRPr lang="it-IT" altLang="it-IT"/>
          </a:p>
        </p:txBody>
      </p:sp>
      <p:sp>
        <p:nvSpPr>
          <p:cNvPr id="4" name="Segnaposto piè di pagina 4">
            <a:extLst>
              <a:ext uri="{FF2B5EF4-FFF2-40B4-BE49-F238E27FC236}">
                <a16:creationId xmlns:a16="http://schemas.microsoft.com/office/drawing/2014/main" id="{B22885F5-A3AA-5950-91BD-6D966ACC59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618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it-IT" altLang="it-IT"/>
          </a:p>
        </p:txBody>
      </p:sp>
      <p:sp>
        <p:nvSpPr>
          <p:cNvPr id="5" name="Segnaposto numero diapositiva 5">
            <a:extLst>
              <a:ext uri="{FF2B5EF4-FFF2-40B4-BE49-F238E27FC236}">
                <a16:creationId xmlns:a16="http://schemas.microsoft.com/office/drawing/2014/main" id="{B1D3121A-782F-0403-2A46-03357D8E1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618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AC956450-A436-47E0-86D9-2AA213F1A90F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1892294739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ijdelijke aanduiding voor afbeelding 8">
            <a:extLst>
              <a:ext uri="{FF2B5EF4-FFF2-40B4-BE49-F238E27FC236}">
                <a16:creationId xmlns:a16="http://schemas.microsoft.com/office/drawing/2014/main" id="{A8AB96D0-8848-45C3-915C-A276917B390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5376" y="1434"/>
            <a:ext cx="12202751" cy="685656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bIns="1620000"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5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/>
              <a:t>Click the icon below </a:t>
            </a:r>
            <a:br>
              <a:rPr lang="en-GB"/>
            </a:br>
            <a:r>
              <a:rPr lang="en-GB"/>
              <a:t>to add an image.</a:t>
            </a:r>
            <a:br>
              <a:rPr lang="en-GB"/>
            </a:br>
            <a:br>
              <a:rPr lang="en-GB"/>
            </a:br>
            <a:r>
              <a:rPr lang="en-GB"/>
              <a:t>Need additional help?</a:t>
            </a:r>
            <a:br>
              <a:rPr lang="en-GB"/>
            </a:br>
            <a:r>
              <a:rPr lang="en-GB"/>
              <a:t>To the side of the slides we’ve placed extra</a:t>
            </a:r>
            <a:br>
              <a:rPr lang="en-GB"/>
            </a:br>
            <a:r>
              <a:rPr lang="en-GB"/>
              <a:t> instructions how to process content. </a:t>
            </a:r>
          </a:p>
        </p:txBody>
      </p:sp>
      <p:sp>
        <p:nvSpPr>
          <p:cNvPr id="22" name="Tijdelijke aanduiding voor tekst 21">
            <a:extLst>
              <a:ext uri="{FF2B5EF4-FFF2-40B4-BE49-F238E27FC236}">
                <a16:creationId xmlns:a16="http://schemas.microsoft.com/office/drawing/2014/main" id="{002D0498-94A0-40FD-B973-91622C2A79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11113" y="-1"/>
            <a:ext cx="7289277" cy="4827069"/>
          </a:xfrm>
          <a:custGeom>
            <a:avLst/>
            <a:gdLst>
              <a:gd name="connsiteX0" fmla="*/ 0 w 7289277"/>
              <a:gd name="connsiteY0" fmla="*/ 0 h 4827069"/>
              <a:gd name="connsiteX1" fmla="*/ 6313176 w 7289277"/>
              <a:gd name="connsiteY1" fmla="*/ 0 h 4827069"/>
              <a:gd name="connsiteX2" fmla="*/ 6420957 w 7289277"/>
              <a:gd name="connsiteY2" fmla="*/ 202272 h 4827069"/>
              <a:gd name="connsiteX3" fmla="*/ 7221911 w 7289277"/>
              <a:gd name="connsiteY3" fmla="*/ 2391463 h 4827069"/>
              <a:gd name="connsiteX4" fmla="*/ 7283962 w 7289277"/>
              <a:gd name="connsiteY4" fmla="*/ 2668064 h 4827069"/>
              <a:gd name="connsiteX5" fmla="*/ 7123985 w 7289277"/>
              <a:gd name="connsiteY5" fmla="*/ 2926435 h 4827069"/>
              <a:gd name="connsiteX6" fmla="*/ 6852583 w 7289277"/>
              <a:gd name="connsiteY6" fmla="*/ 2993100 h 4827069"/>
              <a:gd name="connsiteX7" fmla="*/ 0 w 7289277"/>
              <a:gd name="connsiteY7" fmla="*/ 4827069 h 48270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89277" h="4827069">
                <a:moveTo>
                  <a:pt x="0" y="0"/>
                </a:moveTo>
                <a:lnTo>
                  <a:pt x="6313176" y="0"/>
                </a:lnTo>
                <a:lnTo>
                  <a:pt x="6420957" y="202272"/>
                </a:lnTo>
                <a:cubicBezTo>
                  <a:pt x="6790939" y="925501"/>
                  <a:pt x="7057384" y="1656342"/>
                  <a:pt x="7221911" y="2391463"/>
                </a:cubicBezTo>
                <a:lnTo>
                  <a:pt x="7283962" y="2668064"/>
                </a:lnTo>
                <a:cubicBezTo>
                  <a:pt x="7309846" y="2783440"/>
                  <a:pt x="7238751" y="2898232"/>
                  <a:pt x="7123985" y="2926435"/>
                </a:cubicBezTo>
                <a:lnTo>
                  <a:pt x="6852583" y="2993100"/>
                </a:lnTo>
                <a:lnTo>
                  <a:pt x="0" y="482706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5" name="Titel 5">
            <a:extLst>
              <a:ext uri="{FF2B5EF4-FFF2-40B4-BE49-F238E27FC236}">
                <a16:creationId xmlns:a16="http://schemas.microsoft.com/office/drawing/2014/main" id="{20DBEB7A-7FB1-4F46-90EC-A1F387B9FD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9517" y="1298686"/>
            <a:ext cx="5651923" cy="1141855"/>
          </a:xfrm>
        </p:spPr>
        <p:txBody>
          <a:bodyPr/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GB" noProof="0"/>
              <a:t>Template for  a long title</a:t>
            </a:r>
            <a:br>
              <a:rPr lang="en-GB" noProof="0"/>
            </a:br>
            <a:r>
              <a:rPr lang="en-GB" noProof="0"/>
              <a:t>over two lines</a:t>
            </a:r>
            <a:endParaRPr lang="en-GB"/>
          </a:p>
        </p:txBody>
      </p:sp>
      <p:sp>
        <p:nvSpPr>
          <p:cNvPr id="77" name="Tijdelijke aanduiding voor tekst 19">
            <a:extLst>
              <a:ext uri="{FF2B5EF4-FFF2-40B4-BE49-F238E27FC236}">
                <a16:creationId xmlns:a16="http://schemas.microsoft.com/office/drawing/2014/main" id="{3C679BF6-C6F0-4DA8-9300-B2D0B37F8B8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1339" y="899559"/>
            <a:ext cx="1369048" cy="122301"/>
          </a:xfrm>
          <a:prstGeom prst="rect">
            <a:avLst/>
          </a:prstGeom>
          <a:blipFill>
            <a:blip r:embed="rId2"/>
            <a:srcRect/>
            <a:stretch>
              <a:fillRect t="10141" b="7644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78" name="Tijdelijke aanduiding voor dianummer 4">
            <a:extLst>
              <a:ext uri="{FF2B5EF4-FFF2-40B4-BE49-F238E27FC236}">
                <a16:creationId xmlns:a16="http://schemas.microsoft.com/office/drawing/2014/main" id="{A7DBEB39-C7DB-4B04-84EB-6AA1EF2323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88681" y="6274118"/>
            <a:ext cx="44204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02C9A5-716F-45E6-800B-D4D02CE26F90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79" name="Tijdelijke aanduiding voor verticale tekst 2">
            <a:extLst>
              <a:ext uri="{FF2B5EF4-FFF2-40B4-BE49-F238E27FC236}">
                <a16:creationId xmlns:a16="http://schemas.microsoft.com/office/drawing/2014/main" id="{2129D697-47AF-4A73-BAC8-549F8C8E7A58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899789" y="2612275"/>
            <a:ext cx="5661651" cy="267480"/>
          </a:xfrm>
        </p:spPr>
        <p:txBody>
          <a:bodyPr vert="horz" lIns="0" tIns="0" rIns="0" bIns="0"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  <a:lvl2pPr marL="217483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 algn="l"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Name | function</a:t>
            </a:r>
          </a:p>
        </p:txBody>
      </p:sp>
      <p:sp>
        <p:nvSpPr>
          <p:cNvPr id="80" name="Tijdelijke aanduiding voor verticale tekst 2">
            <a:extLst>
              <a:ext uri="{FF2B5EF4-FFF2-40B4-BE49-F238E27FC236}">
                <a16:creationId xmlns:a16="http://schemas.microsoft.com/office/drawing/2014/main" id="{18F66C33-0007-4F28-A550-18800A5326D7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899788" y="3038892"/>
            <a:ext cx="1694000" cy="183397"/>
          </a:xfrm>
        </p:spPr>
        <p:txBody>
          <a:bodyPr vert="horz" lIns="0" tIns="0" rIns="0" bIns="0" anchor="ctr"/>
          <a:lstStyle>
            <a:lvl1pPr marL="0" indent="0">
              <a:buNone/>
              <a:defRPr sz="1100">
                <a:solidFill>
                  <a:schemeClr val="accent2"/>
                </a:solidFill>
              </a:defRPr>
            </a:lvl1pPr>
            <a:lvl2pPr marL="217483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Location</a:t>
            </a:r>
          </a:p>
        </p:txBody>
      </p:sp>
      <p:sp>
        <p:nvSpPr>
          <p:cNvPr id="81" name="Tijdelijke aanduiding voor verticale tekst 2">
            <a:extLst>
              <a:ext uri="{FF2B5EF4-FFF2-40B4-BE49-F238E27FC236}">
                <a16:creationId xmlns:a16="http://schemas.microsoft.com/office/drawing/2014/main" id="{079AEA8F-F016-4C94-A1A3-CEE037C65684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899788" y="3233487"/>
            <a:ext cx="1694000" cy="183397"/>
          </a:xfrm>
        </p:spPr>
        <p:txBody>
          <a:bodyPr vert="horz" lIns="0" tIns="0" rIns="0" bIns="0" anchor="ctr"/>
          <a:lstStyle>
            <a:lvl1pPr marL="0" marR="0" indent="0" algn="l" defTabSz="71912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  <a:tabLst/>
              <a:defRPr sz="1100">
                <a:solidFill>
                  <a:schemeClr val="accent2"/>
                </a:solidFill>
              </a:defRPr>
            </a:lvl1pPr>
            <a:lvl2pPr marL="217483" indent="0">
              <a:buNone/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marL="0" marR="0" lvl="0" indent="0" algn="l" defTabSz="71912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  <a:tabLst/>
              <a:defRPr/>
            </a:pPr>
            <a:r>
              <a:rPr lang="en-GB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949306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3">
            <a:extLst>
              <a:ext uri="{FF2B5EF4-FFF2-40B4-BE49-F238E27FC236}">
                <a16:creationId xmlns:a16="http://schemas.microsoft.com/office/drawing/2014/main" id="{856A4E2F-F196-72B4-0A44-4C4F1CB839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618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341CF06B-1CE1-42C6-91C2-35236634F513}" type="datetimeFigureOut">
              <a:rPr lang="it-IT" altLang="it-IT"/>
              <a:pPr>
                <a:defRPr/>
              </a:pPr>
              <a:t>01/12/2022</a:t>
            </a:fld>
            <a:endParaRPr lang="it-IT" altLang="it-IT"/>
          </a:p>
        </p:txBody>
      </p:sp>
      <p:sp>
        <p:nvSpPr>
          <p:cNvPr id="3" name="Segnaposto piè di pagina 4">
            <a:extLst>
              <a:ext uri="{FF2B5EF4-FFF2-40B4-BE49-F238E27FC236}">
                <a16:creationId xmlns:a16="http://schemas.microsoft.com/office/drawing/2014/main" id="{BD8CFD39-F081-FED7-50E5-4A77DF3685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618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it-IT" altLang="it-IT"/>
          </a:p>
        </p:txBody>
      </p:sp>
      <p:sp>
        <p:nvSpPr>
          <p:cNvPr id="4" name="Segnaposto numero diapositiva 5">
            <a:extLst>
              <a:ext uri="{FF2B5EF4-FFF2-40B4-BE49-F238E27FC236}">
                <a16:creationId xmlns:a16="http://schemas.microsoft.com/office/drawing/2014/main" id="{237DD448-539F-E595-AE92-3B61FC2C07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618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E0BD4EBC-AD2E-4003-9803-B25C5B6D3F6E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2792517436"/>
      </p:ext>
    </p:extLst>
  </p:cSld>
  <p:clrMapOvr>
    <a:masterClrMapping/>
  </p:clrMapOvr>
  <p:transition spd="med"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626" y="273049"/>
            <a:ext cx="4011084" cy="1162051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766733" y="273089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609626" y="1435104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67D415AA-247B-A485-D47F-CE5A3C2C587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618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9BDC03B2-7A52-438F-B780-3B76A164C621}" type="datetimeFigureOut">
              <a:rPr lang="it-IT" altLang="it-IT"/>
              <a:pPr>
                <a:defRPr/>
              </a:pPr>
              <a:t>01/12/2022</a:t>
            </a:fld>
            <a:endParaRPr lang="it-IT" altLang="it-IT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0C3ED574-0178-2CAD-AF57-85AB76CCEB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618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it-IT" altLang="it-IT"/>
          </a:p>
        </p:txBody>
      </p:sp>
      <p:sp>
        <p:nvSpPr>
          <p:cNvPr id="7" name="Segnaposto numero diapositiva 5">
            <a:extLst>
              <a:ext uri="{FF2B5EF4-FFF2-40B4-BE49-F238E27FC236}">
                <a16:creationId xmlns:a16="http://schemas.microsoft.com/office/drawing/2014/main" id="{CDBBCEE9-3AF8-F95A-066A-B1AE613225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618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5A505AD7-69AC-4D45-BBF7-8E8F246758F9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4289937592"/>
      </p:ext>
    </p:extLst>
  </p:cSld>
  <p:clrMapOvr>
    <a:masterClrMapping/>
  </p:clrMapOvr>
  <p:transition spd="med"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9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pPr lvl="0"/>
            <a:endParaRPr lang="it-IT" noProof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2389717" y="5367375"/>
            <a:ext cx="73152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30C1CED8-B3DF-BA85-37AD-25C084336B6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618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961013C9-A305-4582-8157-741E271147AF}" type="datetimeFigureOut">
              <a:rPr lang="it-IT" altLang="it-IT"/>
              <a:pPr>
                <a:defRPr/>
              </a:pPr>
              <a:t>01/12/2022</a:t>
            </a:fld>
            <a:endParaRPr lang="it-IT" altLang="it-IT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F43D16E6-3130-2F1B-C3A1-DF022DF587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618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it-IT" altLang="it-IT"/>
          </a:p>
        </p:txBody>
      </p:sp>
      <p:sp>
        <p:nvSpPr>
          <p:cNvPr id="7" name="Segnaposto numero diapositiva 5">
            <a:extLst>
              <a:ext uri="{FF2B5EF4-FFF2-40B4-BE49-F238E27FC236}">
                <a16:creationId xmlns:a16="http://schemas.microsoft.com/office/drawing/2014/main" id="{0F53E535-C784-16B8-74CB-27C01E5F6C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618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E12CDF5F-0562-4EFC-8E4F-C393DB2C3A8D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49338811"/>
      </p:ext>
    </p:extLst>
  </p:cSld>
  <p:clrMapOvr>
    <a:masterClrMapping/>
  </p:clrMapOvr>
  <p:transition spd="med"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735627" y="3645024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39A99AAE-DB72-6825-208C-701EA352F7D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618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D562C19A-EDEE-476D-B894-C37BF937AB37}" type="datetimeFigureOut">
              <a:rPr lang="it-IT" altLang="it-IT"/>
              <a:pPr>
                <a:defRPr/>
              </a:pPr>
              <a:t>01/12/2022</a:t>
            </a:fld>
            <a:endParaRPr lang="it-IT" alt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FC4C051-DEDC-35FB-B8BF-5A631819DF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618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it-IT" alt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DFBB9065-4E52-AB9F-F56A-E21258207F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618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F52BBB09-03BE-4FDD-8059-8F9F1F2E5441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3839773103"/>
      </p:ext>
    </p:extLst>
  </p:cSld>
  <p:clrMapOvr>
    <a:masterClrMapping/>
  </p:clrMapOvr>
  <p:transition spd="med"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8839200" y="274640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609600" y="274640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5977C387-D104-FC19-EC12-1767EBE0F5A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618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3BD77A11-A6FA-48E1-916A-2234D93F376F}" type="datetimeFigureOut">
              <a:rPr lang="it-IT" altLang="it-IT"/>
              <a:pPr>
                <a:defRPr/>
              </a:pPr>
              <a:t>01/12/2022</a:t>
            </a:fld>
            <a:endParaRPr lang="it-IT" alt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335778CA-4A55-FA99-BE41-4F06B1855C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618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it-IT" alt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73825EEC-99C4-F565-DE17-C8D8B59AD6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618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5D2475D8-0F92-4DDA-B11A-F8E4E0FB443E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3788445562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39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5" Type="http://schemas.openxmlformats.org/officeDocument/2006/relationships/slideLayout" Target="../slideLayouts/slideLayout41.xml"/><Relationship Id="rId4" Type="http://schemas.openxmlformats.org/officeDocument/2006/relationships/slideLayout" Target="../slideLayouts/slideLayout40.xml"/><Relationship Id="rId9" Type="http://schemas.openxmlformats.org/officeDocument/2006/relationships/image" Target="../media/image14.jpeg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26" Type="http://schemas.openxmlformats.org/officeDocument/2006/relationships/slideLayout" Target="../slideLayouts/slideLayout68.xml"/><Relationship Id="rId39" Type="http://schemas.openxmlformats.org/officeDocument/2006/relationships/slideLayout" Target="../slideLayouts/slideLayout81.xml"/><Relationship Id="rId21" Type="http://schemas.openxmlformats.org/officeDocument/2006/relationships/slideLayout" Target="../slideLayouts/slideLayout63.xml"/><Relationship Id="rId34" Type="http://schemas.openxmlformats.org/officeDocument/2006/relationships/slideLayout" Target="../slideLayouts/slideLayout76.xml"/><Relationship Id="rId42" Type="http://schemas.openxmlformats.org/officeDocument/2006/relationships/theme" Target="../theme/theme3.xml"/><Relationship Id="rId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9" Type="http://schemas.openxmlformats.org/officeDocument/2006/relationships/slideLayout" Target="../slideLayouts/slideLayout71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24" Type="http://schemas.openxmlformats.org/officeDocument/2006/relationships/slideLayout" Target="../slideLayouts/slideLayout66.xml"/><Relationship Id="rId32" Type="http://schemas.openxmlformats.org/officeDocument/2006/relationships/slideLayout" Target="../slideLayouts/slideLayout74.xml"/><Relationship Id="rId37" Type="http://schemas.openxmlformats.org/officeDocument/2006/relationships/slideLayout" Target="../slideLayouts/slideLayout79.xml"/><Relationship Id="rId40" Type="http://schemas.openxmlformats.org/officeDocument/2006/relationships/slideLayout" Target="../slideLayouts/slideLayout82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23" Type="http://schemas.openxmlformats.org/officeDocument/2006/relationships/slideLayout" Target="../slideLayouts/slideLayout65.xml"/><Relationship Id="rId28" Type="http://schemas.openxmlformats.org/officeDocument/2006/relationships/slideLayout" Target="../slideLayouts/slideLayout70.xml"/><Relationship Id="rId36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31" Type="http://schemas.openxmlformats.org/officeDocument/2006/relationships/slideLayout" Target="../slideLayouts/slideLayout73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64.xml"/><Relationship Id="rId27" Type="http://schemas.openxmlformats.org/officeDocument/2006/relationships/slideLayout" Target="../slideLayouts/slideLayout69.xml"/><Relationship Id="rId30" Type="http://schemas.openxmlformats.org/officeDocument/2006/relationships/slideLayout" Target="../slideLayouts/slideLayout72.xml"/><Relationship Id="rId35" Type="http://schemas.openxmlformats.org/officeDocument/2006/relationships/slideLayout" Target="../slideLayouts/slideLayout77.xml"/><Relationship Id="rId43" Type="http://schemas.openxmlformats.org/officeDocument/2006/relationships/tags" Target="../tags/tag1.xml"/><Relationship Id="rId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5" Type="http://schemas.openxmlformats.org/officeDocument/2006/relationships/slideLayout" Target="../slideLayouts/slideLayout67.xml"/><Relationship Id="rId33" Type="http://schemas.openxmlformats.org/officeDocument/2006/relationships/slideLayout" Target="../slideLayouts/slideLayout75.xml"/><Relationship Id="rId38" Type="http://schemas.openxmlformats.org/officeDocument/2006/relationships/slideLayout" Target="../slideLayouts/slideLayout80.xml"/><Relationship Id="rId46" Type="http://schemas.openxmlformats.org/officeDocument/2006/relationships/image" Target="../media/image15.emf"/><Relationship Id="rId20" Type="http://schemas.openxmlformats.org/officeDocument/2006/relationships/slideLayout" Target="../slideLayouts/slideLayout62.xml"/><Relationship Id="rId41" Type="http://schemas.openxmlformats.org/officeDocument/2006/relationships/slideLayout" Target="../slideLayouts/slideLayout8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image" Target="../media/image13.png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0" Type="http://schemas.openxmlformats.org/officeDocument/2006/relationships/slideLayout" Target="../slideLayouts/slideLayout93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977280" y="607966"/>
            <a:ext cx="10653443" cy="38724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 noProof="0"/>
              <a:t>Add a slide 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977280" y="1583207"/>
            <a:ext cx="10653443" cy="40138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noProof="0"/>
              <a:t>Click here to add text. Need additional help? PPT Solutions has added extra instructions to the sides of the slides to help style- and process your text.</a:t>
            </a:r>
          </a:p>
          <a:p>
            <a:pPr lvl="1"/>
            <a:r>
              <a:rPr lang="en-GB" noProof="0"/>
              <a:t>Sub-bullet</a:t>
            </a:r>
          </a:p>
          <a:p>
            <a:pPr lvl="2"/>
            <a:r>
              <a:rPr lang="en-GB" noProof="0"/>
              <a:t>Default text</a:t>
            </a:r>
          </a:p>
          <a:p>
            <a:pPr lvl="3"/>
            <a:r>
              <a:rPr lang="en-GB" noProof="0"/>
              <a:t>Subtitle</a:t>
            </a:r>
          </a:p>
          <a:p>
            <a:pPr lvl="4"/>
            <a:r>
              <a:rPr lang="en-GB" noProof="0"/>
              <a:t>Numerical bullet</a:t>
            </a:r>
          </a:p>
          <a:p>
            <a:pPr lvl="5"/>
            <a:r>
              <a:rPr lang="en-GB" noProof="0"/>
              <a:t>Bullet</a:t>
            </a:r>
          </a:p>
          <a:p>
            <a:pPr lvl="6"/>
            <a:r>
              <a:rPr lang="en-GB" noProof="0"/>
              <a:t>Sub-bullet</a:t>
            </a:r>
          </a:p>
          <a:p>
            <a:pPr lvl="7"/>
            <a:r>
              <a:rPr lang="en-GB" noProof="0"/>
              <a:t>Default text</a:t>
            </a:r>
          </a:p>
          <a:p>
            <a:pPr lvl="8"/>
            <a:r>
              <a:rPr lang="en-GB" noProof="0"/>
              <a:t>Subtitle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1188681" y="6274118"/>
            <a:ext cx="442041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200" b="1">
                <a:solidFill>
                  <a:schemeClr val="tx2"/>
                </a:solidFill>
                <a:latin typeface="+mn-lt"/>
              </a:defRPr>
            </a:lvl1pPr>
          </a:lstStyle>
          <a:p>
            <a:fld id="{B502C9A5-716F-45E6-800B-D4D02CE26F90}" type="slidenum">
              <a:rPr lang="en-GB" smtClean="0"/>
              <a:pPr/>
              <a:t>‹N›</a:t>
            </a:fld>
            <a:endParaRPr lang="en-GB"/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5411A5D9-E028-4D06-9C98-7FF92BC3E1C9}"/>
              </a:ext>
            </a:extLst>
          </p:cNvPr>
          <p:cNvGrpSpPr/>
          <p:nvPr userDrawn="1"/>
        </p:nvGrpSpPr>
        <p:grpSpPr>
          <a:xfrm>
            <a:off x="0" y="1"/>
            <a:ext cx="12198787" cy="6858001"/>
            <a:chOff x="-1" y="0"/>
            <a:chExt cx="12176550" cy="6858001"/>
          </a:xfrm>
        </p:grpSpPr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3C0D51EA-2C0B-423F-808A-D7E320607645}"/>
                </a:ext>
              </a:extLst>
            </p:cNvPr>
            <p:cNvSpPr/>
            <p:nvPr userDrawn="1"/>
          </p:nvSpPr>
          <p:spPr>
            <a:xfrm>
              <a:off x="0" y="5597057"/>
              <a:ext cx="12169774" cy="126094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800"/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E19B9C6E-D591-4B5A-88EC-0D456E9EEA77}"/>
                </a:ext>
              </a:extLst>
            </p:cNvPr>
            <p:cNvSpPr/>
            <p:nvPr userDrawn="1"/>
          </p:nvSpPr>
          <p:spPr>
            <a:xfrm>
              <a:off x="0" y="0"/>
              <a:ext cx="12169774" cy="607965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80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C5969C4B-FE96-4B5E-AC7E-F03D13C17B67}"/>
                </a:ext>
              </a:extLst>
            </p:cNvPr>
            <p:cNvSpPr/>
            <p:nvPr userDrawn="1"/>
          </p:nvSpPr>
          <p:spPr>
            <a:xfrm rot="5400000">
              <a:off x="-2941251" y="2941251"/>
              <a:ext cx="6858000" cy="975499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80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AAE7E668-C2A5-4854-9DA1-0B4C4EAB09BF}"/>
                </a:ext>
              </a:extLst>
            </p:cNvPr>
            <p:cNvSpPr/>
            <p:nvPr userDrawn="1"/>
          </p:nvSpPr>
          <p:spPr>
            <a:xfrm rot="5400000">
              <a:off x="8464034" y="3145485"/>
              <a:ext cx="6858000" cy="567030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3DB02457-A563-4894-84F5-CDE73B5FDF1D}"/>
                </a:ext>
              </a:extLst>
            </p:cNvPr>
            <p:cNvSpPr/>
            <p:nvPr userDrawn="1"/>
          </p:nvSpPr>
          <p:spPr>
            <a:xfrm>
              <a:off x="0" y="995212"/>
              <a:ext cx="12169774" cy="596688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800"/>
            </a:p>
          </p:txBody>
        </p:sp>
      </p:grpSp>
      <p:grpSp>
        <p:nvGrpSpPr>
          <p:cNvPr id="19" name="Graphic 17">
            <a:extLst>
              <a:ext uri="{FF2B5EF4-FFF2-40B4-BE49-F238E27FC236}">
                <a16:creationId xmlns:a16="http://schemas.microsoft.com/office/drawing/2014/main" id="{02627F77-9080-4DE4-8BA4-3D3075A25A96}"/>
              </a:ext>
            </a:extLst>
          </p:cNvPr>
          <p:cNvGrpSpPr/>
          <p:nvPr/>
        </p:nvGrpSpPr>
        <p:grpSpPr>
          <a:xfrm>
            <a:off x="696137" y="6432478"/>
            <a:ext cx="1356871" cy="99501"/>
            <a:chOff x="4557712" y="3314700"/>
            <a:chExt cx="3074479" cy="225456"/>
          </a:xfrm>
          <a:solidFill>
            <a:schemeClr val="tx2"/>
          </a:solidFill>
        </p:grpSpPr>
        <p:sp>
          <p:nvSpPr>
            <p:cNvPr id="20" name="Vrije vorm: vorm 19">
              <a:extLst>
                <a:ext uri="{FF2B5EF4-FFF2-40B4-BE49-F238E27FC236}">
                  <a16:creationId xmlns:a16="http://schemas.microsoft.com/office/drawing/2014/main" id="{0A8197A2-C238-4097-BD30-0352A2553959}"/>
                </a:ext>
              </a:extLst>
            </p:cNvPr>
            <p:cNvSpPr/>
            <p:nvPr/>
          </p:nvSpPr>
          <p:spPr>
            <a:xfrm>
              <a:off x="4557712" y="3316033"/>
              <a:ext cx="157448" cy="220218"/>
            </a:xfrm>
            <a:custGeom>
              <a:avLst/>
              <a:gdLst>
                <a:gd name="connsiteX0" fmla="*/ 116205 w 157448"/>
                <a:gd name="connsiteY0" fmla="*/ 103346 h 220218"/>
                <a:gd name="connsiteX1" fmla="*/ 116205 w 157448"/>
                <a:gd name="connsiteY1" fmla="*/ 102013 h 220218"/>
                <a:gd name="connsiteX2" fmla="*/ 146209 w 157448"/>
                <a:gd name="connsiteY2" fmla="*/ 54197 h 220218"/>
                <a:gd name="connsiteX3" fmla="*/ 68961 w 157448"/>
                <a:gd name="connsiteY3" fmla="*/ 0 h 220218"/>
                <a:gd name="connsiteX4" fmla="*/ 0 w 157448"/>
                <a:gd name="connsiteY4" fmla="*/ 0 h 220218"/>
                <a:gd name="connsiteX5" fmla="*/ 0 w 157448"/>
                <a:gd name="connsiteY5" fmla="*/ 220218 h 220218"/>
                <a:gd name="connsiteX6" fmla="*/ 74581 w 157448"/>
                <a:gd name="connsiteY6" fmla="*/ 220218 h 220218"/>
                <a:gd name="connsiteX7" fmla="*/ 157448 w 157448"/>
                <a:gd name="connsiteY7" fmla="*/ 155543 h 220218"/>
                <a:gd name="connsiteX8" fmla="*/ 116205 w 157448"/>
                <a:gd name="connsiteY8" fmla="*/ 103346 h 220218"/>
                <a:gd name="connsiteX9" fmla="*/ 38291 w 157448"/>
                <a:gd name="connsiteY9" fmla="*/ 30290 h 220218"/>
                <a:gd name="connsiteX10" fmla="*/ 66389 w 157448"/>
                <a:gd name="connsiteY10" fmla="*/ 30290 h 220218"/>
                <a:gd name="connsiteX11" fmla="*/ 108680 w 157448"/>
                <a:gd name="connsiteY11" fmla="*/ 59912 h 220218"/>
                <a:gd name="connsiteX12" fmla="*/ 65818 w 157448"/>
                <a:gd name="connsiteY12" fmla="*/ 90869 h 220218"/>
                <a:gd name="connsiteX13" fmla="*/ 38291 w 157448"/>
                <a:gd name="connsiteY13" fmla="*/ 90869 h 220218"/>
                <a:gd name="connsiteX14" fmla="*/ 38291 w 157448"/>
                <a:gd name="connsiteY14" fmla="*/ 30290 h 220218"/>
                <a:gd name="connsiteX15" fmla="*/ 70676 w 157448"/>
                <a:gd name="connsiteY15" fmla="*/ 189833 h 220218"/>
                <a:gd name="connsiteX16" fmla="*/ 38291 w 157448"/>
                <a:gd name="connsiteY16" fmla="*/ 189833 h 220218"/>
                <a:gd name="connsiteX17" fmla="*/ 38291 w 157448"/>
                <a:gd name="connsiteY17" fmla="*/ 120110 h 220218"/>
                <a:gd name="connsiteX18" fmla="*/ 70676 w 157448"/>
                <a:gd name="connsiteY18" fmla="*/ 120110 h 220218"/>
                <a:gd name="connsiteX19" fmla="*/ 120206 w 157448"/>
                <a:gd name="connsiteY19" fmla="*/ 153448 h 220218"/>
                <a:gd name="connsiteX20" fmla="*/ 70676 w 157448"/>
                <a:gd name="connsiteY20" fmla="*/ 189833 h 220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57448" h="220218">
                  <a:moveTo>
                    <a:pt x="116205" y="103346"/>
                  </a:moveTo>
                  <a:lnTo>
                    <a:pt x="116205" y="102013"/>
                  </a:lnTo>
                  <a:cubicBezTo>
                    <a:pt x="135065" y="95250"/>
                    <a:pt x="146209" y="75057"/>
                    <a:pt x="146209" y="54197"/>
                  </a:cubicBezTo>
                  <a:cubicBezTo>
                    <a:pt x="146209" y="13811"/>
                    <a:pt x="113538" y="0"/>
                    <a:pt x="68961" y="0"/>
                  </a:cubicBezTo>
                  <a:lnTo>
                    <a:pt x="0" y="0"/>
                  </a:lnTo>
                  <a:lnTo>
                    <a:pt x="0" y="220218"/>
                  </a:lnTo>
                  <a:lnTo>
                    <a:pt x="74581" y="220218"/>
                  </a:lnTo>
                  <a:cubicBezTo>
                    <a:pt x="122111" y="220218"/>
                    <a:pt x="157448" y="199644"/>
                    <a:pt x="157448" y="155543"/>
                  </a:cubicBezTo>
                  <a:cubicBezTo>
                    <a:pt x="157448" y="125921"/>
                    <a:pt x="139922" y="108680"/>
                    <a:pt x="116205" y="103346"/>
                  </a:cubicBezTo>
                  <a:close/>
                  <a:moveTo>
                    <a:pt x="38291" y="30290"/>
                  </a:moveTo>
                  <a:lnTo>
                    <a:pt x="66389" y="30290"/>
                  </a:lnTo>
                  <a:cubicBezTo>
                    <a:pt x="94488" y="30290"/>
                    <a:pt x="108680" y="38386"/>
                    <a:pt x="108680" y="59912"/>
                  </a:cubicBezTo>
                  <a:cubicBezTo>
                    <a:pt x="108680" y="78772"/>
                    <a:pt x="95822" y="90869"/>
                    <a:pt x="65818" y="90869"/>
                  </a:cubicBezTo>
                  <a:lnTo>
                    <a:pt x="38291" y="90869"/>
                  </a:lnTo>
                  <a:lnTo>
                    <a:pt x="38291" y="30290"/>
                  </a:lnTo>
                  <a:close/>
                  <a:moveTo>
                    <a:pt x="70676" y="189833"/>
                  </a:moveTo>
                  <a:lnTo>
                    <a:pt x="38291" y="189833"/>
                  </a:lnTo>
                  <a:lnTo>
                    <a:pt x="38291" y="120110"/>
                  </a:lnTo>
                  <a:lnTo>
                    <a:pt x="70676" y="120110"/>
                  </a:lnTo>
                  <a:cubicBezTo>
                    <a:pt x="103061" y="120110"/>
                    <a:pt x="120206" y="130207"/>
                    <a:pt x="120206" y="153448"/>
                  </a:cubicBezTo>
                  <a:cubicBezTo>
                    <a:pt x="120110" y="178118"/>
                    <a:pt x="102299" y="189833"/>
                    <a:pt x="70676" y="18983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1" name="Vrije vorm: vorm 20">
              <a:extLst>
                <a:ext uri="{FF2B5EF4-FFF2-40B4-BE49-F238E27FC236}">
                  <a16:creationId xmlns:a16="http://schemas.microsoft.com/office/drawing/2014/main" id="{72B7F311-0293-40EB-9EA4-89AA7755FC08}"/>
                </a:ext>
              </a:extLst>
            </p:cNvPr>
            <p:cNvSpPr/>
            <p:nvPr/>
          </p:nvSpPr>
          <p:spPr>
            <a:xfrm>
              <a:off x="4758118" y="3315938"/>
              <a:ext cx="162686" cy="220218"/>
            </a:xfrm>
            <a:custGeom>
              <a:avLst/>
              <a:gdLst>
                <a:gd name="connsiteX0" fmla="*/ 57721 w 162686"/>
                <a:gd name="connsiteY0" fmla="*/ 0 h 220218"/>
                <a:gd name="connsiteX1" fmla="*/ 0 w 162686"/>
                <a:gd name="connsiteY1" fmla="*/ 0 h 220218"/>
                <a:gd name="connsiteX2" fmla="*/ 0 w 162686"/>
                <a:gd name="connsiteY2" fmla="*/ 220218 h 220218"/>
                <a:gd name="connsiteX3" fmla="*/ 59722 w 162686"/>
                <a:gd name="connsiteY3" fmla="*/ 220218 h 220218"/>
                <a:gd name="connsiteX4" fmla="*/ 162687 w 162686"/>
                <a:gd name="connsiteY4" fmla="*/ 109061 h 220218"/>
                <a:gd name="connsiteX5" fmla="*/ 57721 w 162686"/>
                <a:gd name="connsiteY5" fmla="*/ 0 h 220218"/>
                <a:gd name="connsiteX6" fmla="*/ 55054 w 162686"/>
                <a:gd name="connsiteY6" fmla="*/ 188595 h 220218"/>
                <a:gd name="connsiteX7" fmla="*/ 38195 w 162686"/>
                <a:gd name="connsiteY7" fmla="*/ 188595 h 220218"/>
                <a:gd name="connsiteX8" fmla="*/ 38195 w 162686"/>
                <a:gd name="connsiteY8" fmla="*/ 31718 h 220218"/>
                <a:gd name="connsiteX9" fmla="*/ 55054 w 162686"/>
                <a:gd name="connsiteY9" fmla="*/ 31718 h 220218"/>
                <a:gd name="connsiteX10" fmla="*/ 123349 w 162686"/>
                <a:gd name="connsiteY10" fmla="*/ 109157 h 220218"/>
                <a:gd name="connsiteX11" fmla="*/ 55054 w 162686"/>
                <a:gd name="connsiteY11" fmla="*/ 188595 h 220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2686" h="220218">
                  <a:moveTo>
                    <a:pt x="57721" y="0"/>
                  </a:moveTo>
                  <a:lnTo>
                    <a:pt x="0" y="0"/>
                  </a:lnTo>
                  <a:lnTo>
                    <a:pt x="0" y="220218"/>
                  </a:lnTo>
                  <a:lnTo>
                    <a:pt x="59722" y="220218"/>
                  </a:lnTo>
                  <a:cubicBezTo>
                    <a:pt x="123730" y="220218"/>
                    <a:pt x="162687" y="182118"/>
                    <a:pt x="162687" y="109061"/>
                  </a:cubicBezTo>
                  <a:cubicBezTo>
                    <a:pt x="162687" y="36386"/>
                    <a:pt x="123730" y="0"/>
                    <a:pt x="57721" y="0"/>
                  </a:cubicBezTo>
                  <a:close/>
                  <a:moveTo>
                    <a:pt x="55054" y="188595"/>
                  </a:moveTo>
                  <a:lnTo>
                    <a:pt x="38195" y="188595"/>
                  </a:lnTo>
                  <a:lnTo>
                    <a:pt x="38195" y="31718"/>
                  </a:lnTo>
                  <a:lnTo>
                    <a:pt x="55054" y="31718"/>
                  </a:lnTo>
                  <a:cubicBezTo>
                    <a:pt x="98584" y="31718"/>
                    <a:pt x="123349" y="55245"/>
                    <a:pt x="123349" y="109157"/>
                  </a:cubicBezTo>
                  <a:cubicBezTo>
                    <a:pt x="123444" y="163354"/>
                    <a:pt x="98679" y="188595"/>
                    <a:pt x="55054" y="18859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2" name="Vrije vorm: vorm 21">
              <a:extLst>
                <a:ext uri="{FF2B5EF4-FFF2-40B4-BE49-F238E27FC236}">
                  <a16:creationId xmlns:a16="http://schemas.microsoft.com/office/drawing/2014/main" id="{37535077-E552-40D4-A8D3-EA57002C96A2}"/>
                </a:ext>
              </a:extLst>
            </p:cNvPr>
            <p:cNvSpPr/>
            <p:nvPr/>
          </p:nvSpPr>
          <p:spPr>
            <a:xfrm>
              <a:off x="4967382" y="3315938"/>
              <a:ext cx="160782" cy="220218"/>
            </a:xfrm>
            <a:custGeom>
              <a:avLst/>
              <a:gdLst>
                <a:gd name="connsiteX0" fmla="*/ 152210 w 160782"/>
                <a:gd name="connsiteY0" fmla="*/ 65341 h 220218"/>
                <a:gd name="connsiteX1" fmla="*/ 72962 w 160782"/>
                <a:gd name="connsiteY1" fmla="*/ 0 h 220218"/>
                <a:gd name="connsiteX2" fmla="*/ 0 w 160782"/>
                <a:gd name="connsiteY2" fmla="*/ 0 h 220218"/>
                <a:gd name="connsiteX3" fmla="*/ 0 w 160782"/>
                <a:gd name="connsiteY3" fmla="*/ 220218 h 220218"/>
                <a:gd name="connsiteX4" fmla="*/ 38291 w 160782"/>
                <a:gd name="connsiteY4" fmla="*/ 220218 h 220218"/>
                <a:gd name="connsiteX5" fmla="*/ 38291 w 160782"/>
                <a:gd name="connsiteY5" fmla="*/ 134017 h 220218"/>
                <a:gd name="connsiteX6" fmla="*/ 71342 w 160782"/>
                <a:gd name="connsiteY6" fmla="*/ 134017 h 220218"/>
                <a:gd name="connsiteX7" fmla="*/ 117920 w 160782"/>
                <a:gd name="connsiteY7" fmla="*/ 220218 h 220218"/>
                <a:gd name="connsiteX8" fmla="*/ 160782 w 160782"/>
                <a:gd name="connsiteY8" fmla="*/ 220218 h 220218"/>
                <a:gd name="connsiteX9" fmla="*/ 109252 w 160782"/>
                <a:gd name="connsiteY9" fmla="*/ 128302 h 220218"/>
                <a:gd name="connsiteX10" fmla="*/ 152210 w 160782"/>
                <a:gd name="connsiteY10" fmla="*/ 65341 h 220218"/>
                <a:gd name="connsiteX11" fmla="*/ 68961 w 160782"/>
                <a:gd name="connsiteY11" fmla="*/ 103061 h 220218"/>
                <a:gd name="connsiteX12" fmla="*/ 38291 w 160782"/>
                <a:gd name="connsiteY12" fmla="*/ 103061 h 220218"/>
                <a:gd name="connsiteX13" fmla="*/ 38291 w 160782"/>
                <a:gd name="connsiteY13" fmla="*/ 31337 h 220218"/>
                <a:gd name="connsiteX14" fmla="*/ 68961 w 160782"/>
                <a:gd name="connsiteY14" fmla="*/ 31337 h 220218"/>
                <a:gd name="connsiteX15" fmla="*/ 114491 w 160782"/>
                <a:gd name="connsiteY15" fmla="*/ 65341 h 220218"/>
                <a:gd name="connsiteX16" fmla="*/ 68961 w 160782"/>
                <a:gd name="connsiteY16" fmla="*/ 103061 h 220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60782" h="220218">
                  <a:moveTo>
                    <a:pt x="152210" y="65341"/>
                  </a:moveTo>
                  <a:cubicBezTo>
                    <a:pt x="152210" y="16193"/>
                    <a:pt x="117920" y="0"/>
                    <a:pt x="72962" y="0"/>
                  </a:cubicBezTo>
                  <a:lnTo>
                    <a:pt x="0" y="0"/>
                  </a:lnTo>
                  <a:lnTo>
                    <a:pt x="0" y="220218"/>
                  </a:lnTo>
                  <a:lnTo>
                    <a:pt x="38291" y="220218"/>
                  </a:lnTo>
                  <a:lnTo>
                    <a:pt x="38291" y="134017"/>
                  </a:lnTo>
                  <a:lnTo>
                    <a:pt x="71342" y="134017"/>
                  </a:lnTo>
                  <a:lnTo>
                    <a:pt x="117920" y="220218"/>
                  </a:lnTo>
                  <a:lnTo>
                    <a:pt x="160782" y="220218"/>
                  </a:lnTo>
                  <a:lnTo>
                    <a:pt x="109252" y="128302"/>
                  </a:lnTo>
                  <a:cubicBezTo>
                    <a:pt x="134969" y="119253"/>
                    <a:pt x="152210" y="99060"/>
                    <a:pt x="152210" y="65341"/>
                  </a:cubicBezTo>
                  <a:close/>
                  <a:moveTo>
                    <a:pt x="68961" y="103061"/>
                  </a:moveTo>
                  <a:lnTo>
                    <a:pt x="38291" y="103061"/>
                  </a:lnTo>
                  <a:lnTo>
                    <a:pt x="38291" y="31337"/>
                  </a:lnTo>
                  <a:lnTo>
                    <a:pt x="68961" y="31337"/>
                  </a:lnTo>
                  <a:cubicBezTo>
                    <a:pt x="98298" y="31337"/>
                    <a:pt x="114491" y="40100"/>
                    <a:pt x="114491" y="65341"/>
                  </a:cubicBezTo>
                  <a:cubicBezTo>
                    <a:pt x="114586" y="90297"/>
                    <a:pt x="98393" y="103061"/>
                    <a:pt x="68961" y="1030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3" name="Vrije vorm: vorm 22">
              <a:extLst>
                <a:ext uri="{FF2B5EF4-FFF2-40B4-BE49-F238E27FC236}">
                  <a16:creationId xmlns:a16="http://schemas.microsoft.com/office/drawing/2014/main" id="{AEDCFBEC-FCCB-4B24-AF2F-B972BC60AEEA}"/>
                </a:ext>
              </a:extLst>
            </p:cNvPr>
            <p:cNvSpPr/>
            <p:nvPr/>
          </p:nvSpPr>
          <p:spPr>
            <a:xfrm>
              <a:off x="5194553" y="3315938"/>
              <a:ext cx="163068" cy="220313"/>
            </a:xfrm>
            <a:custGeom>
              <a:avLst/>
              <a:gdLst>
                <a:gd name="connsiteX0" fmla="*/ 0 w 163068"/>
                <a:gd name="connsiteY0" fmla="*/ 33052 h 220313"/>
                <a:gd name="connsiteX1" fmla="*/ 62389 w 163068"/>
                <a:gd name="connsiteY1" fmla="*/ 33052 h 220313"/>
                <a:gd name="connsiteX2" fmla="*/ 62389 w 163068"/>
                <a:gd name="connsiteY2" fmla="*/ 220313 h 220313"/>
                <a:gd name="connsiteX3" fmla="*/ 100679 w 163068"/>
                <a:gd name="connsiteY3" fmla="*/ 220313 h 220313"/>
                <a:gd name="connsiteX4" fmla="*/ 100679 w 163068"/>
                <a:gd name="connsiteY4" fmla="*/ 33052 h 220313"/>
                <a:gd name="connsiteX5" fmla="*/ 163068 w 163068"/>
                <a:gd name="connsiteY5" fmla="*/ 33052 h 220313"/>
                <a:gd name="connsiteX6" fmla="*/ 163068 w 163068"/>
                <a:gd name="connsiteY6" fmla="*/ 0 h 220313"/>
                <a:gd name="connsiteX7" fmla="*/ 0 w 163068"/>
                <a:gd name="connsiteY7" fmla="*/ 0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068" h="220313">
                  <a:moveTo>
                    <a:pt x="0" y="33052"/>
                  </a:moveTo>
                  <a:lnTo>
                    <a:pt x="62389" y="33052"/>
                  </a:lnTo>
                  <a:lnTo>
                    <a:pt x="62389" y="220313"/>
                  </a:lnTo>
                  <a:lnTo>
                    <a:pt x="100679" y="220313"/>
                  </a:lnTo>
                  <a:lnTo>
                    <a:pt x="100679" y="33052"/>
                  </a:lnTo>
                  <a:lnTo>
                    <a:pt x="163068" y="33052"/>
                  </a:lnTo>
                  <a:lnTo>
                    <a:pt x="16306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4" name="Vrije vorm: vorm 23">
              <a:extLst>
                <a:ext uri="{FF2B5EF4-FFF2-40B4-BE49-F238E27FC236}">
                  <a16:creationId xmlns:a16="http://schemas.microsoft.com/office/drawing/2014/main" id="{8ABD55D0-4BD9-429D-A89F-24CF762AB5D1}"/>
                </a:ext>
              </a:extLst>
            </p:cNvPr>
            <p:cNvSpPr/>
            <p:nvPr/>
          </p:nvSpPr>
          <p:spPr>
            <a:xfrm>
              <a:off x="5396864" y="3315938"/>
              <a:ext cx="164020" cy="220313"/>
            </a:xfrm>
            <a:custGeom>
              <a:avLst/>
              <a:gdLst>
                <a:gd name="connsiteX0" fmla="*/ 125730 w 164020"/>
                <a:gd name="connsiteY0" fmla="*/ 88583 h 220313"/>
                <a:gd name="connsiteX1" fmla="*/ 38291 w 164020"/>
                <a:gd name="connsiteY1" fmla="*/ 88583 h 220313"/>
                <a:gd name="connsiteX2" fmla="*/ 38291 w 164020"/>
                <a:gd name="connsiteY2" fmla="*/ 0 h 220313"/>
                <a:gd name="connsiteX3" fmla="*/ 0 w 164020"/>
                <a:gd name="connsiteY3" fmla="*/ 0 h 220313"/>
                <a:gd name="connsiteX4" fmla="*/ 0 w 164020"/>
                <a:gd name="connsiteY4" fmla="*/ 220313 h 220313"/>
                <a:gd name="connsiteX5" fmla="*/ 38291 w 164020"/>
                <a:gd name="connsiteY5" fmla="*/ 220313 h 220313"/>
                <a:gd name="connsiteX6" fmla="*/ 38291 w 164020"/>
                <a:gd name="connsiteY6" fmla="*/ 122587 h 220313"/>
                <a:gd name="connsiteX7" fmla="*/ 125730 w 164020"/>
                <a:gd name="connsiteY7" fmla="*/ 122587 h 220313"/>
                <a:gd name="connsiteX8" fmla="*/ 125730 w 164020"/>
                <a:gd name="connsiteY8" fmla="*/ 220313 h 220313"/>
                <a:gd name="connsiteX9" fmla="*/ 164021 w 164020"/>
                <a:gd name="connsiteY9" fmla="*/ 220313 h 220313"/>
                <a:gd name="connsiteX10" fmla="*/ 164021 w 164020"/>
                <a:gd name="connsiteY10" fmla="*/ 0 h 220313"/>
                <a:gd name="connsiteX11" fmla="*/ 125730 w 164020"/>
                <a:gd name="connsiteY11" fmla="*/ 0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4020" h="220313">
                  <a:moveTo>
                    <a:pt x="125730" y="88583"/>
                  </a:moveTo>
                  <a:lnTo>
                    <a:pt x="38291" y="88583"/>
                  </a:lnTo>
                  <a:lnTo>
                    <a:pt x="38291" y="0"/>
                  </a:lnTo>
                  <a:lnTo>
                    <a:pt x="0" y="0"/>
                  </a:lnTo>
                  <a:lnTo>
                    <a:pt x="0" y="220313"/>
                  </a:lnTo>
                  <a:lnTo>
                    <a:pt x="38291" y="220313"/>
                  </a:lnTo>
                  <a:lnTo>
                    <a:pt x="38291" y="122587"/>
                  </a:lnTo>
                  <a:lnTo>
                    <a:pt x="125730" y="122587"/>
                  </a:lnTo>
                  <a:lnTo>
                    <a:pt x="125730" y="220313"/>
                  </a:lnTo>
                  <a:lnTo>
                    <a:pt x="164021" y="220313"/>
                  </a:lnTo>
                  <a:lnTo>
                    <a:pt x="164021" y="0"/>
                  </a:lnTo>
                  <a:lnTo>
                    <a:pt x="12573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5" name="Vrije vorm: vorm 24">
              <a:extLst>
                <a:ext uri="{FF2B5EF4-FFF2-40B4-BE49-F238E27FC236}">
                  <a16:creationId xmlns:a16="http://schemas.microsoft.com/office/drawing/2014/main" id="{11EDE0E5-810E-4DC1-BE68-A4937A42A33B}"/>
                </a:ext>
              </a:extLst>
            </p:cNvPr>
            <p:cNvSpPr/>
            <p:nvPr/>
          </p:nvSpPr>
          <p:spPr>
            <a:xfrm>
              <a:off x="5619082" y="3315938"/>
              <a:ext cx="133350" cy="220313"/>
            </a:xfrm>
            <a:custGeom>
              <a:avLst/>
              <a:gdLst>
                <a:gd name="connsiteX0" fmla="*/ 38290 w 133350"/>
                <a:gd name="connsiteY0" fmla="*/ 122301 h 220313"/>
                <a:gd name="connsiteX1" fmla="*/ 115824 w 133350"/>
                <a:gd name="connsiteY1" fmla="*/ 122301 h 220313"/>
                <a:gd name="connsiteX2" fmla="*/ 115824 w 133350"/>
                <a:gd name="connsiteY2" fmla="*/ 89249 h 220313"/>
                <a:gd name="connsiteX3" fmla="*/ 38290 w 133350"/>
                <a:gd name="connsiteY3" fmla="*/ 89249 h 220313"/>
                <a:gd name="connsiteX4" fmla="*/ 38290 w 133350"/>
                <a:gd name="connsiteY4" fmla="*/ 33052 h 220313"/>
                <a:gd name="connsiteX5" fmla="*/ 130016 w 133350"/>
                <a:gd name="connsiteY5" fmla="*/ 33052 h 220313"/>
                <a:gd name="connsiteX6" fmla="*/ 130016 w 133350"/>
                <a:gd name="connsiteY6" fmla="*/ 0 h 220313"/>
                <a:gd name="connsiteX7" fmla="*/ 0 w 133350"/>
                <a:gd name="connsiteY7" fmla="*/ 0 h 220313"/>
                <a:gd name="connsiteX8" fmla="*/ 0 w 133350"/>
                <a:gd name="connsiteY8" fmla="*/ 220313 h 220313"/>
                <a:gd name="connsiteX9" fmla="*/ 133350 w 133350"/>
                <a:gd name="connsiteY9" fmla="*/ 220313 h 220313"/>
                <a:gd name="connsiteX10" fmla="*/ 133350 w 133350"/>
                <a:gd name="connsiteY10" fmla="*/ 187262 h 220313"/>
                <a:gd name="connsiteX11" fmla="*/ 38290 w 133350"/>
                <a:gd name="connsiteY11" fmla="*/ 187262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3350" h="220313">
                  <a:moveTo>
                    <a:pt x="38290" y="122301"/>
                  </a:moveTo>
                  <a:lnTo>
                    <a:pt x="115824" y="122301"/>
                  </a:lnTo>
                  <a:lnTo>
                    <a:pt x="115824" y="89249"/>
                  </a:lnTo>
                  <a:lnTo>
                    <a:pt x="38290" y="89249"/>
                  </a:lnTo>
                  <a:lnTo>
                    <a:pt x="38290" y="33052"/>
                  </a:lnTo>
                  <a:lnTo>
                    <a:pt x="130016" y="33052"/>
                  </a:lnTo>
                  <a:lnTo>
                    <a:pt x="130016" y="0"/>
                  </a:lnTo>
                  <a:lnTo>
                    <a:pt x="0" y="0"/>
                  </a:lnTo>
                  <a:lnTo>
                    <a:pt x="0" y="220313"/>
                  </a:lnTo>
                  <a:lnTo>
                    <a:pt x="133350" y="220313"/>
                  </a:lnTo>
                  <a:lnTo>
                    <a:pt x="133350" y="187262"/>
                  </a:lnTo>
                  <a:lnTo>
                    <a:pt x="38290" y="1872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6" name="Vrije vorm: vorm 25">
              <a:extLst>
                <a:ext uri="{FF2B5EF4-FFF2-40B4-BE49-F238E27FC236}">
                  <a16:creationId xmlns:a16="http://schemas.microsoft.com/office/drawing/2014/main" id="{BAF84494-3125-45A6-BA92-11499FB89320}"/>
                </a:ext>
              </a:extLst>
            </p:cNvPr>
            <p:cNvSpPr/>
            <p:nvPr/>
          </p:nvSpPr>
          <p:spPr>
            <a:xfrm>
              <a:off x="5799581" y="3315938"/>
              <a:ext cx="160781" cy="220218"/>
            </a:xfrm>
            <a:custGeom>
              <a:avLst/>
              <a:gdLst>
                <a:gd name="connsiteX0" fmla="*/ 152209 w 160781"/>
                <a:gd name="connsiteY0" fmla="*/ 65341 h 220218"/>
                <a:gd name="connsiteX1" fmla="*/ 72961 w 160781"/>
                <a:gd name="connsiteY1" fmla="*/ 0 h 220218"/>
                <a:gd name="connsiteX2" fmla="*/ 0 w 160781"/>
                <a:gd name="connsiteY2" fmla="*/ 0 h 220218"/>
                <a:gd name="connsiteX3" fmla="*/ 0 w 160781"/>
                <a:gd name="connsiteY3" fmla="*/ 220218 h 220218"/>
                <a:gd name="connsiteX4" fmla="*/ 38290 w 160781"/>
                <a:gd name="connsiteY4" fmla="*/ 220218 h 220218"/>
                <a:gd name="connsiteX5" fmla="*/ 38290 w 160781"/>
                <a:gd name="connsiteY5" fmla="*/ 134017 h 220218"/>
                <a:gd name="connsiteX6" fmla="*/ 71342 w 160781"/>
                <a:gd name="connsiteY6" fmla="*/ 134017 h 220218"/>
                <a:gd name="connsiteX7" fmla="*/ 117919 w 160781"/>
                <a:gd name="connsiteY7" fmla="*/ 220218 h 220218"/>
                <a:gd name="connsiteX8" fmla="*/ 160782 w 160781"/>
                <a:gd name="connsiteY8" fmla="*/ 220218 h 220218"/>
                <a:gd name="connsiteX9" fmla="*/ 109252 w 160781"/>
                <a:gd name="connsiteY9" fmla="*/ 128302 h 220218"/>
                <a:gd name="connsiteX10" fmla="*/ 152209 w 160781"/>
                <a:gd name="connsiteY10" fmla="*/ 65341 h 220218"/>
                <a:gd name="connsiteX11" fmla="*/ 69056 w 160781"/>
                <a:gd name="connsiteY11" fmla="*/ 103061 h 220218"/>
                <a:gd name="connsiteX12" fmla="*/ 38386 w 160781"/>
                <a:gd name="connsiteY12" fmla="*/ 103061 h 220218"/>
                <a:gd name="connsiteX13" fmla="*/ 38386 w 160781"/>
                <a:gd name="connsiteY13" fmla="*/ 31337 h 220218"/>
                <a:gd name="connsiteX14" fmla="*/ 69056 w 160781"/>
                <a:gd name="connsiteY14" fmla="*/ 31337 h 220218"/>
                <a:gd name="connsiteX15" fmla="*/ 114586 w 160781"/>
                <a:gd name="connsiteY15" fmla="*/ 65341 h 220218"/>
                <a:gd name="connsiteX16" fmla="*/ 69056 w 160781"/>
                <a:gd name="connsiteY16" fmla="*/ 103061 h 220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60781" h="220218">
                  <a:moveTo>
                    <a:pt x="152209" y="65341"/>
                  </a:moveTo>
                  <a:cubicBezTo>
                    <a:pt x="152209" y="16193"/>
                    <a:pt x="117919" y="0"/>
                    <a:pt x="72961" y="0"/>
                  </a:cubicBezTo>
                  <a:lnTo>
                    <a:pt x="0" y="0"/>
                  </a:lnTo>
                  <a:lnTo>
                    <a:pt x="0" y="220218"/>
                  </a:lnTo>
                  <a:lnTo>
                    <a:pt x="38290" y="220218"/>
                  </a:lnTo>
                  <a:lnTo>
                    <a:pt x="38290" y="134017"/>
                  </a:lnTo>
                  <a:lnTo>
                    <a:pt x="71342" y="134017"/>
                  </a:lnTo>
                  <a:lnTo>
                    <a:pt x="117919" y="220218"/>
                  </a:lnTo>
                  <a:lnTo>
                    <a:pt x="160782" y="220218"/>
                  </a:lnTo>
                  <a:lnTo>
                    <a:pt x="109252" y="128302"/>
                  </a:lnTo>
                  <a:cubicBezTo>
                    <a:pt x="135064" y="119253"/>
                    <a:pt x="152209" y="99060"/>
                    <a:pt x="152209" y="65341"/>
                  </a:cubicBezTo>
                  <a:close/>
                  <a:moveTo>
                    <a:pt x="69056" y="103061"/>
                  </a:moveTo>
                  <a:lnTo>
                    <a:pt x="38386" y="103061"/>
                  </a:lnTo>
                  <a:lnTo>
                    <a:pt x="38386" y="31337"/>
                  </a:lnTo>
                  <a:lnTo>
                    <a:pt x="69056" y="31337"/>
                  </a:lnTo>
                  <a:cubicBezTo>
                    <a:pt x="98393" y="31337"/>
                    <a:pt x="114586" y="40100"/>
                    <a:pt x="114586" y="65341"/>
                  </a:cubicBezTo>
                  <a:cubicBezTo>
                    <a:pt x="114586" y="90297"/>
                    <a:pt x="98393" y="103061"/>
                    <a:pt x="69056" y="1030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7" name="Vrije vorm: vorm 26">
              <a:extLst>
                <a:ext uri="{FF2B5EF4-FFF2-40B4-BE49-F238E27FC236}">
                  <a16:creationId xmlns:a16="http://schemas.microsoft.com/office/drawing/2014/main" id="{385B6CE9-3C83-434C-A701-5B2E3DA24B17}"/>
                </a:ext>
              </a:extLst>
            </p:cNvPr>
            <p:cNvSpPr/>
            <p:nvPr/>
          </p:nvSpPr>
          <p:spPr>
            <a:xfrm>
              <a:off x="5998273" y="3315938"/>
              <a:ext cx="191166" cy="220313"/>
            </a:xfrm>
            <a:custGeom>
              <a:avLst/>
              <a:gdLst>
                <a:gd name="connsiteX0" fmla="*/ 110300 w 191166"/>
                <a:gd name="connsiteY0" fmla="*/ 107823 h 220313"/>
                <a:gd name="connsiteX1" fmla="*/ 96774 w 191166"/>
                <a:gd name="connsiteY1" fmla="*/ 150971 h 220313"/>
                <a:gd name="connsiteX2" fmla="*/ 95440 w 191166"/>
                <a:gd name="connsiteY2" fmla="*/ 150971 h 220313"/>
                <a:gd name="connsiteX3" fmla="*/ 81534 w 191166"/>
                <a:gd name="connsiteY3" fmla="*/ 107823 h 220313"/>
                <a:gd name="connsiteX4" fmla="*/ 43243 w 191166"/>
                <a:gd name="connsiteY4" fmla="*/ 95 h 220313"/>
                <a:gd name="connsiteX5" fmla="*/ 0 w 191166"/>
                <a:gd name="connsiteY5" fmla="*/ 95 h 220313"/>
                <a:gd name="connsiteX6" fmla="*/ 0 w 191166"/>
                <a:gd name="connsiteY6" fmla="*/ 220313 h 220313"/>
                <a:gd name="connsiteX7" fmla="*/ 34671 w 191166"/>
                <a:gd name="connsiteY7" fmla="*/ 220313 h 220313"/>
                <a:gd name="connsiteX8" fmla="*/ 34671 w 191166"/>
                <a:gd name="connsiteY8" fmla="*/ 119634 h 220313"/>
                <a:gd name="connsiteX9" fmla="*/ 29718 w 191166"/>
                <a:gd name="connsiteY9" fmla="*/ 49625 h 220313"/>
                <a:gd name="connsiteX10" fmla="*/ 31051 w 191166"/>
                <a:gd name="connsiteY10" fmla="*/ 49625 h 220313"/>
                <a:gd name="connsiteX11" fmla="*/ 48196 w 191166"/>
                <a:gd name="connsiteY11" fmla="*/ 100775 h 220313"/>
                <a:gd name="connsiteX12" fmla="*/ 83820 w 191166"/>
                <a:gd name="connsiteY12" fmla="*/ 199739 h 220313"/>
                <a:gd name="connsiteX13" fmla="*/ 106585 w 191166"/>
                <a:gd name="connsiteY13" fmla="*/ 199739 h 220313"/>
                <a:gd name="connsiteX14" fmla="*/ 141922 w 191166"/>
                <a:gd name="connsiteY14" fmla="*/ 100775 h 220313"/>
                <a:gd name="connsiteX15" fmla="*/ 159448 w 191166"/>
                <a:gd name="connsiteY15" fmla="*/ 49625 h 220313"/>
                <a:gd name="connsiteX16" fmla="*/ 160782 w 191166"/>
                <a:gd name="connsiteY16" fmla="*/ 49625 h 220313"/>
                <a:gd name="connsiteX17" fmla="*/ 155829 w 191166"/>
                <a:gd name="connsiteY17" fmla="*/ 119634 h 220313"/>
                <a:gd name="connsiteX18" fmla="*/ 155829 w 191166"/>
                <a:gd name="connsiteY18" fmla="*/ 220313 h 220313"/>
                <a:gd name="connsiteX19" fmla="*/ 191167 w 191166"/>
                <a:gd name="connsiteY19" fmla="*/ 220313 h 220313"/>
                <a:gd name="connsiteX20" fmla="*/ 191167 w 191166"/>
                <a:gd name="connsiteY20" fmla="*/ 0 h 220313"/>
                <a:gd name="connsiteX21" fmla="*/ 147638 w 191166"/>
                <a:gd name="connsiteY21" fmla="*/ 0 h 220313"/>
                <a:gd name="connsiteX22" fmla="*/ 110300 w 191166"/>
                <a:gd name="connsiteY22" fmla="*/ 107823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1166" h="220313">
                  <a:moveTo>
                    <a:pt x="110300" y="107823"/>
                  </a:moveTo>
                  <a:cubicBezTo>
                    <a:pt x="105632" y="121634"/>
                    <a:pt x="101346" y="136493"/>
                    <a:pt x="96774" y="150971"/>
                  </a:cubicBezTo>
                  <a:lnTo>
                    <a:pt x="95440" y="150971"/>
                  </a:lnTo>
                  <a:cubicBezTo>
                    <a:pt x="90868" y="136493"/>
                    <a:pt x="86201" y="121634"/>
                    <a:pt x="81534" y="107823"/>
                  </a:cubicBezTo>
                  <a:lnTo>
                    <a:pt x="43243" y="95"/>
                  </a:lnTo>
                  <a:lnTo>
                    <a:pt x="0" y="95"/>
                  </a:lnTo>
                  <a:lnTo>
                    <a:pt x="0" y="220313"/>
                  </a:lnTo>
                  <a:lnTo>
                    <a:pt x="34671" y="220313"/>
                  </a:lnTo>
                  <a:lnTo>
                    <a:pt x="34671" y="119634"/>
                  </a:lnTo>
                  <a:cubicBezTo>
                    <a:pt x="34671" y="99060"/>
                    <a:pt x="31337" y="69818"/>
                    <a:pt x="29718" y="49625"/>
                  </a:cubicBezTo>
                  <a:lnTo>
                    <a:pt x="31051" y="49625"/>
                  </a:lnTo>
                  <a:lnTo>
                    <a:pt x="48196" y="100775"/>
                  </a:lnTo>
                  <a:lnTo>
                    <a:pt x="83820" y="199739"/>
                  </a:lnTo>
                  <a:lnTo>
                    <a:pt x="106585" y="199739"/>
                  </a:lnTo>
                  <a:lnTo>
                    <a:pt x="141922" y="100775"/>
                  </a:lnTo>
                  <a:lnTo>
                    <a:pt x="159448" y="49625"/>
                  </a:lnTo>
                  <a:lnTo>
                    <a:pt x="160782" y="49625"/>
                  </a:lnTo>
                  <a:cubicBezTo>
                    <a:pt x="158782" y="69818"/>
                    <a:pt x="155829" y="99155"/>
                    <a:pt x="155829" y="119634"/>
                  </a:cubicBezTo>
                  <a:lnTo>
                    <a:pt x="155829" y="220313"/>
                  </a:lnTo>
                  <a:lnTo>
                    <a:pt x="191167" y="220313"/>
                  </a:lnTo>
                  <a:lnTo>
                    <a:pt x="191167" y="0"/>
                  </a:lnTo>
                  <a:lnTo>
                    <a:pt x="147638" y="0"/>
                  </a:lnTo>
                  <a:lnTo>
                    <a:pt x="110300" y="1078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8" name="Vrije vorm: vorm 27">
              <a:extLst>
                <a:ext uri="{FF2B5EF4-FFF2-40B4-BE49-F238E27FC236}">
                  <a16:creationId xmlns:a16="http://schemas.microsoft.com/office/drawing/2014/main" id="{9D6E083C-C048-43B1-87A9-72D139C588A9}"/>
                </a:ext>
              </a:extLst>
            </p:cNvPr>
            <p:cNvSpPr/>
            <p:nvPr/>
          </p:nvSpPr>
          <p:spPr>
            <a:xfrm>
              <a:off x="6247256" y="3315938"/>
              <a:ext cx="133350" cy="220313"/>
            </a:xfrm>
            <a:custGeom>
              <a:avLst/>
              <a:gdLst>
                <a:gd name="connsiteX0" fmla="*/ 38290 w 133350"/>
                <a:gd name="connsiteY0" fmla="*/ 122301 h 220313"/>
                <a:gd name="connsiteX1" fmla="*/ 115824 w 133350"/>
                <a:gd name="connsiteY1" fmla="*/ 122301 h 220313"/>
                <a:gd name="connsiteX2" fmla="*/ 115824 w 133350"/>
                <a:gd name="connsiteY2" fmla="*/ 89249 h 220313"/>
                <a:gd name="connsiteX3" fmla="*/ 38290 w 133350"/>
                <a:gd name="connsiteY3" fmla="*/ 89249 h 220313"/>
                <a:gd name="connsiteX4" fmla="*/ 38290 w 133350"/>
                <a:gd name="connsiteY4" fmla="*/ 33052 h 220313"/>
                <a:gd name="connsiteX5" fmla="*/ 130111 w 133350"/>
                <a:gd name="connsiteY5" fmla="*/ 33052 h 220313"/>
                <a:gd name="connsiteX6" fmla="*/ 130111 w 133350"/>
                <a:gd name="connsiteY6" fmla="*/ 0 h 220313"/>
                <a:gd name="connsiteX7" fmla="*/ 0 w 133350"/>
                <a:gd name="connsiteY7" fmla="*/ 0 h 220313"/>
                <a:gd name="connsiteX8" fmla="*/ 0 w 133350"/>
                <a:gd name="connsiteY8" fmla="*/ 220313 h 220313"/>
                <a:gd name="connsiteX9" fmla="*/ 133350 w 133350"/>
                <a:gd name="connsiteY9" fmla="*/ 220313 h 220313"/>
                <a:gd name="connsiteX10" fmla="*/ 133350 w 133350"/>
                <a:gd name="connsiteY10" fmla="*/ 187262 h 220313"/>
                <a:gd name="connsiteX11" fmla="*/ 38290 w 133350"/>
                <a:gd name="connsiteY11" fmla="*/ 187262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3350" h="220313">
                  <a:moveTo>
                    <a:pt x="38290" y="122301"/>
                  </a:moveTo>
                  <a:lnTo>
                    <a:pt x="115824" y="122301"/>
                  </a:lnTo>
                  <a:lnTo>
                    <a:pt x="115824" y="89249"/>
                  </a:lnTo>
                  <a:lnTo>
                    <a:pt x="38290" y="89249"/>
                  </a:lnTo>
                  <a:lnTo>
                    <a:pt x="38290" y="33052"/>
                  </a:lnTo>
                  <a:lnTo>
                    <a:pt x="130111" y="33052"/>
                  </a:lnTo>
                  <a:lnTo>
                    <a:pt x="130111" y="0"/>
                  </a:lnTo>
                  <a:lnTo>
                    <a:pt x="0" y="0"/>
                  </a:lnTo>
                  <a:lnTo>
                    <a:pt x="0" y="220313"/>
                  </a:lnTo>
                  <a:lnTo>
                    <a:pt x="133350" y="220313"/>
                  </a:lnTo>
                  <a:lnTo>
                    <a:pt x="133350" y="187262"/>
                  </a:lnTo>
                  <a:lnTo>
                    <a:pt x="38290" y="1872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9" name="Vrije vorm: vorm 28">
              <a:extLst>
                <a:ext uri="{FF2B5EF4-FFF2-40B4-BE49-F238E27FC236}">
                  <a16:creationId xmlns:a16="http://schemas.microsoft.com/office/drawing/2014/main" id="{93D0DA65-9FE7-4FA5-8F14-B319986A116B}"/>
                </a:ext>
              </a:extLst>
            </p:cNvPr>
            <p:cNvSpPr/>
            <p:nvPr/>
          </p:nvSpPr>
          <p:spPr>
            <a:xfrm>
              <a:off x="6403085" y="3315938"/>
              <a:ext cx="185546" cy="220313"/>
            </a:xfrm>
            <a:custGeom>
              <a:avLst/>
              <a:gdLst>
                <a:gd name="connsiteX0" fmla="*/ 70294 w 185546"/>
                <a:gd name="connsiteY0" fmla="*/ 0 h 220313"/>
                <a:gd name="connsiteX1" fmla="*/ 0 w 185546"/>
                <a:gd name="connsiteY1" fmla="*/ 220218 h 220313"/>
                <a:gd name="connsiteX2" fmla="*/ 38957 w 185546"/>
                <a:gd name="connsiteY2" fmla="*/ 220218 h 220313"/>
                <a:gd name="connsiteX3" fmla="*/ 55817 w 185546"/>
                <a:gd name="connsiteY3" fmla="*/ 160687 h 220313"/>
                <a:gd name="connsiteX4" fmla="*/ 128397 w 185546"/>
                <a:gd name="connsiteY4" fmla="*/ 160687 h 220313"/>
                <a:gd name="connsiteX5" fmla="*/ 145256 w 185546"/>
                <a:gd name="connsiteY5" fmla="*/ 220313 h 220313"/>
                <a:gd name="connsiteX6" fmla="*/ 185547 w 185546"/>
                <a:gd name="connsiteY6" fmla="*/ 220313 h 220313"/>
                <a:gd name="connsiteX7" fmla="*/ 115252 w 185546"/>
                <a:gd name="connsiteY7" fmla="*/ 95 h 220313"/>
                <a:gd name="connsiteX8" fmla="*/ 70294 w 185546"/>
                <a:gd name="connsiteY8" fmla="*/ 95 h 220313"/>
                <a:gd name="connsiteX9" fmla="*/ 64675 w 185546"/>
                <a:gd name="connsiteY9" fmla="*/ 130016 h 220313"/>
                <a:gd name="connsiteX10" fmla="*/ 72295 w 185546"/>
                <a:gd name="connsiteY10" fmla="*/ 103061 h 220313"/>
                <a:gd name="connsiteX11" fmla="*/ 91440 w 185546"/>
                <a:gd name="connsiteY11" fmla="*/ 30290 h 220313"/>
                <a:gd name="connsiteX12" fmla="*/ 92773 w 185546"/>
                <a:gd name="connsiteY12" fmla="*/ 30290 h 220313"/>
                <a:gd name="connsiteX13" fmla="*/ 112204 w 185546"/>
                <a:gd name="connsiteY13" fmla="*/ 103061 h 220313"/>
                <a:gd name="connsiteX14" fmla="*/ 119825 w 185546"/>
                <a:gd name="connsiteY14" fmla="*/ 130016 h 220313"/>
                <a:gd name="connsiteX15" fmla="*/ 64675 w 185546"/>
                <a:gd name="connsiteY15" fmla="*/ 130016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5546" h="220313">
                  <a:moveTo>
                    <a:pt x="70294" y="0"/>
                  </a:moveTo>
                  <a:lnTo>
                    <a:pt x="0" y="220218"/>
                  </a:lnTo>
                  <a:lnTo>
                    <a:pt x="38957" y="220218"/>
                  </a:lnTo>
                  <a:lnTo>
                    <a:pt x="55817" y="160687"/>
                  </a:lnTo>
                  <a:lnTo>
                    <a:pt x="128397" y="160687"/>
                  </a:lnTo>
                  <a:lnTo>
                    <a:pt x="145256" y="220313"/>
                  </a:lnTo>
                  <a:lnTo>
                    <a:pt x="185547" y="220313"/>
                  </a:lnTo>
                  <a:lnTo>
                    <a:pt x="115252" y="95"/>
                  </a:lnTo>
                  <a:lnTo>
                    <a:pt x="70294" y="95"/>
                  </a:lnTo>
                  <a:close/>
                  <a:moveTo>
                    <a:pt x="64675" y="130016"/>
                  </a:moveTo>
                  <a:lnTo>
                    <a:pt x="72295" y="103061"/>
                  </a:lnTo>
                  <a:cubicBezTo>
                    <a:pt x="79248" y="79820"/>
                    <a:pt x="85534" y="54864"/>
                    <a:pt x="91440" y="30290"/>
                  </a:cubicBezTo>
                  <a:lnTo>
                    <a:pt x="92773" y="30290"/>
                  </a:lnTo>
                  <a:cubicBezTo>
                    <a:pt x="99060" y="54578"/>
                    <a:pt x="105346" y="79820"/>
                    <a:pt x="112204" y="103061"/>
                  </a:cubicBezTo>
                  <a:lnTo>
                    <a:pt x="119825" y="130016"/>
                  </a:lnTo>
                  <a:lnTo>
                    <a:pt x="64675" y="1300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Vrije vorm: vorm 29">
              <a:extLst>
                <a:ext uri="{FF2B5EF4-FFF2-40B4-BE49-F238E27FC236}">
                  <a16:creationId xmlns:a16="http://schemas.microsoft.com/office/drawing/2014/main" id="{B517B19C-99F0-49E5-A79A-370AFA9B1A03}"/>
                </a:ext>
              </a:extLst>
            </p:cNvPr>
            <p:cNvSpPr/>
            <p:nvPr/>
          </p:nvSpPr>
          <p:spPr>
            <a:xfrm>
              <a:off x="6668261" y="3314700"/>
              <a:ext cx="157733" cy="225456"/>
            </a:xfrm>
            <a:custGeom>
              <a:avLst/>
              <a:gdLst>
                <a:gd name="connsiteX0" fmla="*/ 91059 w 157733"/>
                <a:gd name="connsiteY0" fmla="*/ 127445 h 225456"/>
                <a:gd name="connsiteX1" fmla="*/ 143256 w 157733"/>
                <a:gd name="connsiteY1" fmla="*/ 127445 h 225456"/>
                <a:gd name="connsiteX2" fmla="*/ 143256 w 157733"/>
                <a:gd name="connsiteY2" fmla="*/ 195167 h 225456"/>
                <a:gd name="connsiteX3" fmla="*/ 122301 w 157733"/>
                <a:gd name="connsiteY3" fmla="*/ 207359 h 225456"/>
                <a:gd name="connsiteX4" fmla="*/ 94393 w 157733"/>
                <a:gd name="connsiteY4" fmla="*/ 211646 h 225456"/>
                <a:gd name="connsiteX5" fmla="*/ 61246 w 157733"/>
                <a:gd name="connsiteY5" fmla="*/ 204502 h 225456"/>
                <a:gd name="connsiteX6" fmla="*/ 36481 w 157733"/>
                <a:gd name="connsiteY6" fmla="*/ 184499 h 225456"/>
                <a:gd name="connsiteX7" fmla="*/ 21146 w 157733"/>
                <a:gd name="connsiteY7" fmla="*/ 153257 h 225456"/>
                <a:gd name="connsiteX8" fmla="*/ 15907 w 157733"/>
                <a:gd name="connsiteY8" fmla="*/ 112205 h 225456"/>
                <a:gd name="connsiteX9" fmla="*/ 21526 w 157733"/>
                <a:gd name="connsiteY9" fmla="*/ 71247 h 225456"/>
                <a:gd name="connsiteX10" fmla="*/ 37529 w 157733"/>
                <a:gd name="connsiteY10" fmla="*/ 40386 h 225456"/>
                <a:gd name="connsiteX11" fmla="*/ 62770 w 157733"/>
                <a:gd name="connsiteY11" fmla="*/ 20765 h 225456"/>
                <a:gd name="connsiteX12" fmla="*/ 96488 w 157733"/>
                <a:gd name="connsiteY12" fmla="*/ 13811 h 225456"/>
                <a:gd name="connsiteX13" fmla="*/ 126206 w 157733"/>
                <a:gd name="connsiteY13" fmla="*/ 20384 h 225456"/>
                <a:gd name="connsiteX14" fmla="*/ 146685 w 157733"/>
                <a:gd name="connsiteY14" fmla="*/ 36195 h 225456"/>
                <a:gd name="connsiteX15" fmla="*/ 155638 w 157733"/>
                <a:gd name="connsiteY15" fmla="*/ 26003 h 225456"/>
                <a:gd name="connsiteX16" fmla="*/ 145542 w 157733"/>
                <a:gd name="connsiteY16" fmla="*/ 16764 h 225456"/>
                <a:gd name="connsiteX17" fmla="*/ 132493 w 157733"/>
                <a:gd name="connsiteY17" fmla="*/ 8382 h 225456"/>
                <a:gd name="connsiteX18" fmla="*/ 116110 w 157733"/>
                <a:gd name="connsiteY18" fmla="*/ 2286 h 225456"/>
                <a:gd name="connsiteX19" fmla="*/ 96107 w 157733"/>
                <a:gd name="connsiteY19" fmla="*/ 0 h 225456"/>
                <a:gd name="connsiteX20" fmla="*/ 56769 w 157733"/>
                <a:gd name="connsiteY20" fmla="*/ 7715 h 225456"/>
                <a:gd name="connsiteX21" fmla="*/ 26384 w 157733"/>
                <a:gd name="connsiteY21" fmla="*/ 30194 h 225456"/>
                <a:gd name="connsiteX22" fmla="*/ 6953 w 157733"/>
                <a:gd name="connsiteY22" fmla="*/ 65723 h 225456"/>
                <a:gd name="connsiteX23" fmla="*/ 0 w 157733"/>
                <a:gd name="connsiteY23" fmla="*/ 112300 h 225456"/>
                <a:gd name="connsiteX24" fmla="*/ 6763 w 157733"/>
                <a:gd name="connsiteY24" fmla="*/ 159353 h 225456"/>
                <a:gd name="connsiteX25" fmla="*/ 25717 w 157733"/>
                <a:gd name="connsiteY25" fmla="*/ 194977 h 225456"/>
                <a:gd name="connsiteX26" fmla="*/ 55054 w 157733"/>
                <a:gd name="connsiteY26" fmla="*/ 217551 h 225456"/>
                <a:gd name="connsiteX27" fmla="*/ 93345 w 157733"/>
                <a:gd name="connsiteY27" fmla="*/ 225457 h 225456"/>
                <a:gd name="connsiteX28" fmla="*/ 131159 w 157733"/>
                <a:gd name="connsiteY28" fmla="*/ 218504 h 225456"/>
                <a:gd name="connsiteX29" fmla="*/ 157734 w 157733"/>
                <a:gd name="connsiteY29" fmla="*/ 200692 h 225456"/>
                <a:gd name="connsiteX30" fmla="*/ 157734 w 157733"/>
                <a:gd name="connsiteY30" fmla="*/ 114491 h 225456"/>
                <a:gd name="connsiteX31" fmla="*/ 91059 w 157733"/>
                <a:gd name="connsiteY31" fmla="*/ 114491 h 225456"/>
                <a:gd name="connsiteX32" fmla="*/ 91059 w 157733"/>
                <a:gd name="connsiteY32" fmla="*/ 127445 h 225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57733" h="225456">
                  <a:moveTo>
                    <a:pt x="91059" y="127445"/>
                  </a:moveTo>
                  <a:lnTo>
                    <a:pt x="143256" y="127445"/>
                  </a:lnTo>
                  <a:lnTo>
                    <a:pt x="143256" y="195167"/>
                  </a:lnTo>
                  <a:cubicBezTo>
                    <a:pt x="138017" y="200406"/>
                    <a:pt x="130969" y="204502"/>
                    <a:pt x="122301" y="207359"/>
                  </a:cubicBezTo>
                  <a:cubicBezTo>
                    <a:pt x="113633" y="210217"/>
                    <a:pt x="104299" y="211646"/>
                    <a:pt x="94393" y="211646"/>
                  </a:cubicBezTo>
                  <a:cubicBezTo>
                    <a:pt x="82105" y="211646"/>
                    <a:pt x="70961" y="209264"/>
                    <a:pt x="61246" y="204502"/>
                  </a:cubicBezTo>
                  <a:cubicBezTo>
                    <a:pt x="51435" y="199739"/>
                    <a:pt x="43243" y="193072"/>
                    <a:pt x="36481" y="184499"/>
                  </a:cubicBezTo>
                  <a:cubicBezTo>
                    <a:pt x="29718" y="175927"/>
                    <a:pt x="24670" y="165544"/>
                    <a:pt x="21146" y="153257"/>
                  </a:cubicBezTo>
                  <a:cubicBezTo>
                    <a:pt x="17621" y="141065"/>
                    <a:pt x="15907" y="127349"/>
                    <a:pt x="15907" y="112205"/>
                  </a:cubicBezTo>
                  <a:cubicBezTo>
                    <a:pt x="15907" y="97060"/>
                    <a:pt x="17812" y="83344"/>
                    <a:pt x="21526" y="71247"/>
                  </a:cubicBezTo>
                  <a:cubicBezTo>
                    <a:pt x="25241" y="59150"/>
                    <a:pt x="30575" y="48863"/>
                    <a:pt x="37529" y="40386"/>
                  </a:cubicBezTo>
                  <a:cubicBezTo>
                    <a:pt x="44482" y="31909"/>
                    <a:pt x="52864" y="25337"/>
                    <a:pt x="62770" y="20765"/>
                  </a:cubicBezTo>
                  <a:cubicBezTo>
                    <a:pt x="72676" y="16097"/>
                    <a:pt x="83915" y="13811"/>
                    <a:pt x="96488" y="13811"/>
                  </a:cubicBezTo>
                  <a:cubicBezTo>
                    <a:pt x="108395" y="13811"/>
                    <a:pt x="118300" y="16002"/>
                    <a:pt x="126206" y="20384"/>
                  </a:cubicBezTo>
                  <a:cubicBezTo>
                    <a:pt x="134112" y="24765"/>
                    <a:pt x="140970" y="30099"/>
                    <a:pt x="146685" y="36195"/>
                  </a:cubicBezTo>
                  <a:lnTo>
                    <a:pt x="155638" y="26003"/>
                  </a:lnTo>
                  <a:cubicBezTo>
                    <a:pt x="152781" y="22955"/>
                    <a:pt x="149447" y="19812"/>
                    <a:pt x="145542" y="16764"/>
                  </a:cubicBezTo>
                  <a:cubicBezTo>
                    <a:pt x="141637" y="13716"/>
                    <a:pt x="137350" y="10859"/>
                    <a:pt x="132493" y="8382"/>
                  </a:cubicBezTo>
                  <a:cubicBezTo>
                    <a:pt x="127635" y="5810"/>
                    <a:pt x="122206" y="3810"/>
                    <a:pt x="116110" y="2286"/>
                  </a:cubicBezTo>
                  <a:cubicBezTo>
                    <a:pt x="110014" y="762"/>
                    <a:pt x="103442" y="0"/>
                    <a:pt x="96107" y="0"/>
                  </a:cubicBezTo>
                  <a:cubicBezTo>
                    <a:pt x="81820" y="0"/>
                    <a:pt x="68675" y="2572"/>
                    <a:pt x="56769" y="7715"/>
                  </a:cubicBezTo>
                  <a:cubicBezTo>
                    <a:pt x="44863" y="12859"/>
                    <a:pt x="34766" y="20384"/>
                    <a:pt x="26384" y="30194"/>
                  </a:cubicBezTo>
                  <a:cubicBezTo>
                    <a:pt x="18002" y="40005"/>
                    <a:pt x="11525" y="51816"/>
                    <a:pt x="6953" y="65723"/>
                  </a:cubicBezTo>
                  <a:cubicBezTo>
                    <a:pt x="2381" y="79629"/>
                    <a:pt x="0" y="95059"/>
                    <a:pt x="0" y="112300"/>
                  </a:cubicBezTo>
                  <a:cubicBezTo>
                    <a:pt x="0" y="129731"/>
                    <a:pt x="2286" y="145352"/>
                    <a:pt x="6763" y="159353"/>
                  </a:cubicBezTo>
                  <a:cubicBezTo>
                    <a:pt x="11239" y="173355"/>
                    <a:pt x="17621" y="185261"/>
                    <a:pt x="25717" y="194977"/>
                  </a:cubicBezTo>
                  <a:cubicBezTo>
                    <a:pt x="33814" y="204788"/>
                    <a:pt x="43625" y="212312"/>
                    <a:pt x="55054" y="217551"/>
                  </a:cubicBezTo>
                  <a:cubicBezTo>
                    <a:pt x="66484" y="222790"/>
                    <a:pt x="79248" y="225457"/>
                    <a:pt x="93345" y="225457"/>
                  </a:cubicBezTo>
                  <a:cubicBezTo>
                    <a:pt x="107633" y="225457"/>
                    <a:pt x="120205" y="223171"/>
                    <a:pt x="131159" y="218504"/>
                  </a:cubicBezTo>
                  <a:cubicBezTo>
                    <a:pt x="142018" y="213836"/>
                    <a:pt x="150876" y="207931"/>
                    <a:pt x="157734" y="200692"/>
                  </a:cubicBezTo>
                  <a:lnTo>
                    <a:pt x="157734" y="114491"/>
                  </a:lnTo>
                  <a:lnTo>
                    <a:pt x="91059" y="114491"/>
                  </a:lnTo>
                  <a:lnTo>
                    <a:pt x="91059" y="1274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Vrije vorm: vorm 30">
              <a:extLst>
                <a:ext uri="{FF2B5EF4-FFF2-40B4-BE49-F238E27FC236}">
                  <a16:creationId xmlns:a16="http://schemas.microsoft.com/office/drawing/2014/main" id="{71603F30-D2DD-4AD4-A1C8-24E578A372FE}"/>
                </a:ext>
              </a:extLst>
            </p:cNvPr>
            <p:cNvSpPr/>
            <p:nvPr/>
          </p:nvSpPr>
          <p:spPr>
            <a:xfrm>
              <a:off x="6884764" y="3318605"/>
              <a:ext cx="137922" cy="217551"/>
            </a:xfrm>
            <a:custGeom>
              <a:avLst/>
              <a:gdLst>
                <a:gd name="connsiteX0" fmla="*/ 118681 w 137922"/>
                <a:gd name="connsiteY0" fmla="*/ 98393 h 217551"/>
                <a:gd name="connsiteX1" fmla="*/ 133731 w 137922"/>
                <a:gd name="connsiteY1" fmla="*/ 57436 h 217551"/>
                <a:gd name="connsiteX2" fmla="*/ 128588 w 137922"/>
                <a:gd name="connsiteY2" fmla="*/ 31052 h 217551"/>
                <a:gd name="connsiteX3" fmla="*/ 114205 w 137922"/>
                <a:gd name="connsiteY3" fmla="*/ 13240 h 217551"/>
                <a:gd name="connsiteX4" fmla="*/ 91726 w 137922"/>
                <a:gd name="connsiteY4" fmla="*/ 3143 h 217551"/>
                <a:gd name="connsiteX5" fmla="*/ 62389 w 137922"/>
                <a:gd name="connsiteY5" fmla="*/ 0 h 217551"/>
                <a:gd name="connsiteX6" fmla="*/ 0 w 137922"/>
                <a:gd name="connsiteY6" fmla="*/ 0 h 217551"/>
                <a:gd name="connsiteX7" fmla="*/ 0 w 137922"/>
                <a:gd name="connsiteY7" fmla="*/ 217551 h 217551"/>
                <a:gd name="connsiteX8" fmla="*/ 15145 w 137922"/>
                <a:gd name="connsiteY8" fmla="*/ 217551 h 217551"/>
                <a:gd name="connsiteX9" fmla="*/ 15145 w 137922"/>
                <a:gd name="connsiteY9" fmla="*/ 117539 h 217551"/>
                <a:gd name="connsiteX10" fmla="*/ 61341 w 137922"/>
                <a:gd name="connsiteY10" fmla="*/ 117539 h 217551"/>
                <a:gd name="connsiteX11" fmla="*/ 120396 w 137922"/>
                <a:gd name="connsiteY11" fmla="*/ 217551 h 217551"/>
                <a:gd name="connsiteX12" fmla="*/ 137922 w 137922"/>
                <a:gd name="connsiteY12" fmla="*/ 217551 h 217551"/>
                <a:gd name="connsiteX13" fmla="*/ 77819 w 137922"/>
                <a:gd name="connsiteY13" fmla="*/ 116491 h 217551"/>
                <a:gd name="connsiteX14" fmla="*/ 118681 w 137922"/>
                <a:gd name="connsiteY14" fmla="*/ 98393 h 217551"/>
                <a:gd name="connsiteX15" fmla="*/ 58388 w 137922"/>
                <a:gd name="connsiteY15" fmla="*/ 105061 h 217551"/>
                <a:gd name="connsiteX16" fmla="*/ 15145 w 137922"/>
                <a:gd name="connsiteY16" fmla="*/ 105061 h 217551"/>
                <a:gd name="connsiteX17" fmla="*/ 15145 w 137922"/>
                <a:gd name="connsiteY17" fmla="*/ 12954 h 217551"/>
                <a:gd name="connsiteX18" fmla="*/ 58388 w 137922"/>
                <a:gd name="connsiteY18" fmla="*/ 12954 h 217551"/>
                <a:gd name="connsiteX19" fmla="*/ 102584 w 137922"/>
                <a:gd name="connsiteY19" fmla="*/ 23051 h 217551"/>
                <a:gd name="connsiteX20" fmla="*/ 118110 w 137922"/>
                <a:gd name="connsiteY20" fmla="*/ 57531 h 217551"/>
                <a:gd name="connsiteX21" fmla="*/ 102775 w 137922"/>
                <a:gd name="connsiteY21" fmla="*/ 93345 h 217551"/>
                <a:gd name="connsiteX22" fmla="*/ 58388 w 137922"/>
                <a:gd name="connsiteY22" fmla="*/ 105061 h 217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7922" h="217551">
                  <a:moveTo>
                    <a:pt x="118681" y="98393"/>
                  </a:moveTo>
                  <a:cubicBezTo>
                    <a:pt x="128683" y="88487"/>
                    <a:pt x="133731" y="74867"/>
                    <a:pt x="133731" y="57436"/>
                  </a:cubicBezTo>
                  <a:cubicBezTo>
                    <a:pt x="133731" y="47054"/>
                    <a:pt x="132017" y="38291"/>
                    <a:pt x="128588" y="31052"/>
                  </a:cubicBezTo>
                  <a:cubicBezTo>
                    <a:pt x="125159" y="23813"/>
                    <a:pt x="120396" y="17812"/>
                    <a:pt x="114205" y="13240"/>
                  </a:cubicBezTo>
                  <a:cubicBezTo>
                    <a:pt x="108013" y="8572"/>
                    <a:pt x="100584" y="5239"/>
                    <a:pt x="91726" y="3143"/>
                  </a:cubicBezTo>
                  <a:cubicBezTo>
                    <a:pt x="82963" y="1048"/>
                    <a:pt x="73152" y="0"/>
                    <a:pt x="62389" y="0"/>
                  </a:cubicBezTo>
                  <a:lnTo>
                    <a:pt x="0" y="0"/>
                  </a:lnTo>
                  <a:lnTo>
                    <a:pt x="0" y="217551"/>
                  </a:lnTo>
                  <a:lnTo>
                    <a:pt x="15145" y="217551"/>
                  </a:lnTo>
                  <a:lnTo>
                    <a:pt x="15145" y="117539"/>
                  </a:lnTo>
                  <a:lnTo>
                    <a:pt x="61341" y="117539"/>
                  </a:lnTo>
                  <a:lnTo>
                    <a:pt x="120396" y="217551"/>
                  </a:lnTo>
                  <a:lnTo>
                    <a:pt x="137922" y="217551"/>
                  </a:lnTo>
                  <a:lnTo>
                    <a:pt x="77819" y="116491"/>
                  </a:lnTo>
                  <a:cubicBezTo>
                    <a:pt x="95059" y="114395"/>
                    <a:pt x="108680" y="108299"/>
                    <a:pt x="118681" y="98393"/>
                  </a:cubicBezTo>
                  <a:close/>
                  <a:moveTo>
                    <a:pt x="58388" y="105061"/>
                  </a:moveTo>
                  <a:lnTo>
                    <a:pt x="15145" y="105061"/>
                  </a:lnTo>
                  <a:lnTo>
                    <a:pt x="15145" y="12954"/>
                  </a:lnTo>
                  <a:lnTo>
                    <a:pt x="58388" y="12954"/>
                  </a:lnTo>
                  <a:cubicBezTo>
                    <a:pt x="77533" y="12954"/>
                    <a:pt x="92297" y="16288"/>
                    <a:pt x="102584" y="23051"/>
                  </a:cubicBezTo>
                  <a:cubicBezTo>
                    <a:pt x="112967" y="29813"/>
                    <a:pt x="118110" y="41243"/>
                    <a:pt x="118110" y="57531"/>
                  </a:cubicBezTo>
                  <a:cubicBezTo>
                    <a:pt x="118110" y="73628"/>
                    <a:pt x="112967" y="85535"/>
                    <a:pt x="102775" y="93345"/>
                  </a:cubicBezTo>
                  <a:cubicBezTo>
                    <a:pt x="92583" y="101156"/>
                    <a:pt x="77724" y="105061"/>
                    <a:pt x="58388" y="1050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2" name="Vrije vorm: vorm 31">
              <a:extLst>
                <a:ext uri="{FF2B5EF4-FFF2-40B4-BE49-F238E27FC236}">
                  <a16:creationId xmlns:a16="http://schemas.microsoft.com/office/drawing/2014/main" id="{FA506911-8A9E-42C9-8B76-682694779676}"/>
                </a:ext>
              </a:extLst>
            </p:cNvPr>
            <p:cNvSpPr/>
            <p:nvPr/>
          </p:nvSpPr>
          <p:spPr>
            <a:xfrm>
              <a:off x="7053452" y="3314700"/>
              <a:ext cx="179165" cy="225456"/>
            </a:xfrm>
            <a:custGeom>
              <a:avLst/>
              <a:gdLst>
                <a:gd name="connsiteX0" fmla="*/ 154115 w 179165"/>
                <a:gd name="connsiteY0" fmla="*/ 30194 h 225456"/>
                <a:gd name="connsiteX1" fmla="*/ 125730 w 179165"/>
                <a:gd name="connsiteY1" fmla="*/ 7715 h 225456"/>
                <a:gd name="connsiteX2" fmla="*/ 89440 w 179165"/>
                <a:gd name="connsiteY2" fmla="*/ 0 h 225456"/>
                <a:gd name="connsiteX3" fmla="*/ 53435 w 179165"/>
                <a:gd name="connsiteY3" fmla="*/ 7715 h 225456"/>
                <a:gd name="connsiteX4" fmla="*/ 25051 w 179165"/>
                <a:gd name="connsiteY4" fmla="*/ 30194 h 225456"/>
                <a:gd name="connsiteX5" fmla="*/ 6572 w 179165"/>
                <a:gd name="connsiteY5" fmla="*/ 65532 h 225456"/>
                <a:gd name="connsiteX6" fmla="*/ 0 w 179165"/>
                <a:gd name="connsiteY6" fmla="*/ 111919 h 225456"/>
                <a:gd name="connsiteX7" fmla="*/ 6572 w 179165"/>
                <a:gd name="connsiteY7" fmla="*/ 158591 h 225456"/>
                <a:gd name="connsiteX8" fmla="*/ 25051 w 179165"/>
                <a:gd name="connsiteY8" fmla="*/ 194405 h 225456"/>
                <a:gd name="connsiteX9" fmla="*/ 53435 w 179165"/>
                <a:gd name="connsiteY9" fmla="*/ 217361 h 225456"/>
                <a:gd name="connsiteX10" fmla="*/ 89440 w 179165"/>
                <a:gd name="connsiteY10" fmla="*/ 225457 h 225456"/>
                <a:gd name="connsiteX11" fmla="*/ 125730 w 179165"/>
                <a:gd name="connsiteY11" fmla="*/ 217361 h 225456"/>
                <a:gd name="connsiteX12" fmla="*/ 154115 w 179165"/>
                <a:gd name="connsiteY12" fmla="*/ 194405 h 225456"/>
                <a:gd name="connsiteX13" fmla="*/ 172593 w 179165"/>
                <a:gd name="connsiteY13" fmla="*/ 158591 h 225456"/>
                <a:gd name="connsiteX14" fmla="*/ 179165 w 179165"/>
                <a:gd name="connsiteY14" fmla="*/ 111919 h 225456"/>
                <a:gd name="connsiteX15" fmla="*/ 172593 w 179165"/>
                <a:gd name="connsiteY15" fmla="*/ 65532 h 225456"/>
                <a:gd name="connsiteX16" fmla="*/ 154115 w 179165"/>
                <a:gd name="connsiteY16" fmla="*/ 30194 h 225456"/>
                <a:gd name="connsiteX17" fmla="*/ 157734 w 179165"/>
                <a:gd name="connsiteY17" fmla="*/ 152972 h 225456"/>
                <a:gd name="connsiteX18" fmla="*/ 142685 w 179165"/>
                <a:gd name="connsiteY18" fmla="*/ 184309 h 225456"/>
                <a:gd name="connsiteX19" fmla="*/ 119444 w 179165"/>
                <a:gd name="connsiteY19" fmla="*/ 204406 h 225456"/>
                <a:gd name="connsiteX20" fmla="*/ 89440 w 179165"/>
                <a:gd name="connsiteY20" fmla="*/ 211550 h 225456"/>
                <a:gd name="connsiteX21" fmla="*/ 59246 w 179165"/>
                <a:gd name="connsiteY21" fmla="*/ 204406 h 225456"/>
                <a:gd name="connsiteX22" fmla="*/ 36004 w 179165"/>
                <a:gd name="connsiteY22" fmla="*/ 184309 h 225456"/>
                <a:gd name="connsiteX23" fmla="*/ 21146 w 179165"/>
                <a:gd name="connsiteY23" fmla="*/ 152972 h 225456"/>
                <a:gd name="connsiteX24" fmla="*/ 15907 w 179165"/>
                <a:gd name="connsiteY24" fmla="*/ 111919 h 225456"/>
                <a:gd name="connsiteX25" fmla="*/ 21146 w 179165"/>
                <a:gd name="connsiteY25" fmla="*/ 71342 h 225456"/>
                <a:gd name="connsiteX26" fmla="*/ 36004 w 179165"/>
                <a:gd name="connsiteY26" fmla="*/ 40481 h 225456"/>
                <a:gd name="connsiteX27" fmla="*/ 59246 w 179165"/>
                <a:gd name="connsiteY27" fmla="*/ 20860 h 225456"/>
                <a:gd name="connsiteX28" fmla="*/ 89440 w 179165"/>
                <a:gd name="connsiteY28" fmla="*/ 13907 h 225456"/>
                <a:gd name="connsiteX29" fmla="*/ 119444 w 179165"/>
                <a:gd name="connsiteY29" fmla="*/ 20860 h 225456"/>
                <a:gd name="connsiteX30" fmla="*/ 142685 w 179165"/>
                <a:gd name="connsiteY30" fmla="*/ 40481 h 225456"/>
                <a:gd name="connsiteX31" fmla="*/ 157734 w 179165"/>
                <a:gd name="connsiteY31" fmla="*/ 71342 h 225456"/>
                <a:gd name="connsiteX32" fmla="*/ 162973 w 179165"/>
                <a:gd name="connsiteY32" fmla="*/ 111919 h 225456"/>
                <a:gd name="connsiteX33" fmla="*/ 157734 w 179165"/>
                <a:gd name="connsiteY33" fmla="*/ 152972 h 225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79165" h="225456">
                  <a:moveTo>
                    <a:pt x="154115" y="30194"/>
                  </a:moveTo>
                  <a:cubicBezTo>
                    <a:pt x="146209" y="20384"/>
                    <a:pt x="136684" y="12954"/>
                    <a:pt x="125730" y="7715"/>
                  </a:cubicBezTo>
                  <a:cubicBezTo>
                    <a:pt x="114776" y="2572"/>
                    <a:pt x="102679" y="0"/>
                    <a:pt x="89440" y="0"/>
                  </a:cubicBezTo>
                  <a:cubicBezTo>
                    <a:pt x="76486" y="0"/>
                    <a:pt x="64484" y="2572"/>
                    <a:pt x="53435" y="7715"/>
                  </a:cubicBezTo>
                  <a:cubicBezTo>
                    <a:pt x="42386" y="12859"/>
                    <a:pt x="32957" y="20384"/>
                    <a:pt x="25051" y="30194"/>
                  </a:cubicBezTo>
                  <a:cubicBezTo>
                    <a:pt x="17145" y="40005"/>
                    <a:pt x="10954" y="51816"/>
                    <a:pt x="6572" y="65532"/>
                  </a:cubicBezTo>
                  <a:cubicBezTo>
                    <a:pt x="2191" y="79248"/>
                    <a:pt x="0" y="94774"/>
                    <a:pt x="0" y="111919"/>
                  </a:cubicBezTo>
                  <a:cubicBezTo>
                    <a:pt x="0" y="129064"/>
                    <a:pt x="2191" y="144685"/>
                    <a:pt x="6572" y="158591"/>
                  </a:cubicBezTo>
                  <a:cubicBezTo>
                    <a:pt x="10954" y="172593"/>
                    <a:pt x="17145" y="184499"/>
                    <a:pt x="25051" y="194405"/>
                  </a:cubicBezTo>
                  <a:cubicBezTo>
                    <a:pt x="32957" y="204311"/>
                    <a:pt x="42482" y="211931"/>
                    <a:pt x="53435" y="217361"/>
                  </a:cubicBezTo>
                  <a:cubicBezTo>
                    <a:pt x="64389" y="222790"/>
                    <a:pt x="76486" y="225457"/>
                    <a:pt x="89440" y="225457"/>
                  </a:cubicBezTo>
                  <a:cubicBezTo>
                    <a:pt x="102679" y="225457"/>
                    <a:pt x="114776" y="222790"/>
                    <a:pt x="125730" y="217361"/>
                  </a:cubicBezTo>
                  <a:cubicBezTo>
                    <a:pt x="136779" y="211931"/>
                    <a:pt x="146209" y="204311"/>
                    <a:pt x="154115" y="194405"/>
                  </a:cubicBezTo>
                  <a:cubicBezTo>
                    <a:pt x="162020" y="184499"/>
                    <a:pt x="168212" y="172593"/>
                    <a:pt x="172593" y="158591"/>
                  </a:cubicBezTo>
                  <a:cubicBezTo>
                    <a:pt x="176975" y="144590"/>
                    <a:pt x="179165" y="129064"/>
                    <a:pt x="179165" y="111919"/>
                  </a:cubicBezTo>
                  <a:cubicBezTo>
                    <a:pt x="179165" y="94774"/>
                    <a:pt x="176975" y="79248"/>
                    <a:pt x="172593" y="65532"/>
                  </a:cubicBezTo>
                  <a:cubicBezTo>
                    <a:pt x="168212" y="51816"/>
                    <a:pt x="162116" y="40005"/>
                    <a:pt x="154115" y="30194"/>
                  </a:cubicBezTo>
                  <a:close/>
                  <a:moveTo>
                    <a:pt x="157734" y="152972"/>
                  </a:moveTo>
                  <a:cubicBezTo>
                    <a:pt x="154210" y="165164"/>
                    <a:pt x="149162" y="175641"/>
                    <a:pt x="142685" y="184309"/>
                  </a:cubicBezTo>
                  <a:cubicBezTo>
                    <a:pt x="136208" y="192977"/>
                    <a:pt x="128397" y="199739"/>
                    <a:pt x="119444" y="204406"/>
                  </a:cubicBezTo>
                  <a:cubicBezTo>
                    <a:pt x="110395" y="209169"/>
                    <a:pt x="100394" y="211550"/>
                    <a:pt x="89440" y="211550"/>
                  </a:cubicBezTo>
                  <a:cubicBezTo>
                    <a:pt x="78486" y="211550"/>
                    <a:pt x="68390" y="209169"/>
                    <a:pt x="59246" y="204406"/>
                  </a:cubicBezTo>
                  <a:cubicBezTo>
                    <a:pt x="50102" y="199644"/>
                    <a:pt x="42386" y="192977"/>
                    <a:pt x="36004" y="184309"/>
                  </a:cubicBezTo>
                  <a:cubicBezTo>
                    <a:pt x="29623" y="175641"/>
                    <a:pt x="24670" y="165164"/>
                    <a:pt x="21146" y="152972"/>
                  </a:cubicBezTo>
                  <a:cubicBezTo>
                    <a:pt x="17621" y="140780"/>
                    <a:pt x="15907" y="127064"/>
                    <a:pt x="15907" y="111919"/>
                  </a:cubicBezTo>
                  <a:cubicBezTo>
                    <a:pt x="15907" y="96965"/>
                    <a:pt x="17621" y="83439"/>
                    <a:pt x="21146" y="71342"/>
                  </a:cubicBezTo>
                  <a:cubicBezTo>
                    <a:pt x="24670" y="59245"/>
                    <a:pt x="29623" y="48959"/>
                    <a:pt x="36004" y="40481"/>
                  </a:cubicBezTo>
                  <a:cubicBezTo>
                    <a:pt x="42386" y="32004"/>
                    <a:pt x="50102" y="25432"/>
                    <a:pt x="59246" y="20860"/>
                  </a:cubicBezTo>
                  <a:cubicBezTo>
                    <a:pt x="68390" y="16193"/>
                    <a:pt x="78486" y="13907"/>
                    <a:pt x="89440" y="13907"/>
                  </a:cubicBezTo>
                  <a:cubicBezTo>
                    <a:pt x="100394" y="13907"/>
                    <a:pt x="110490" y="16193"/>
                    <a:pt x="119444" y="20860"/>
                  </a:cubicBezTo>
                  <a:cubicBezTo>
                    <a:pt x="128492" y="25432"/>
                    <a:pt x="136208" y="32004"/>
                    <a:pt x="142685" y="40481"/>
                  </a:cubicBezTo>
                  <a:cubicBezTo>
                    <a:pt x="149162" y="48959"/>
                    <a:pt x="154210" y="59245"/>
                    <a:pt x="157734" y="71342"/>
                  </a:cubicBezTo>
                  <a:cubicBezTo>
                    <a:pt x="161258" y="83439"/>
                    <a:pt x="162973" y="96965"/>
                    <a:pt x="162973" y="111919"/>
                  </a:cubicBezTo>
                  <a:cubicBezTo>
                    <a:pt x="163068" y="127064"/>
                    <a:pt x="161258" y="140780"/>
                    <a:pt x="157734" y="15297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3" name="Vrije vorm: vorm 32">
              <a:extLst>
                <a:ext uri="{FF2B5EF4-FFF2-40B4-BE49-F238E27FC236}">
                  <a16:creationId xmlns:a16="http://schemas.microsoft.com/office/drawing/2014/main" id="{FBBB6DB0-106D-4DFD-A186-2DCA95B12DE0}"/>
                </a:ext>
              </a:extLst>
            </p:cNvPr>
            <p:cNvSpPr/>
            <p:nvPr/>
          </p:nvSpPr>
          <p:spPr>
            <a:xfrm>
              <a:off x="7285386" y="3318700"/>
              <a:ext cx="146589" cy="221456"/>
            </a:xfrm>
            <a:custGeom>
              <a:avLst/>
              <a:gdLst>
                <a:gd name="connsiteX0" fmla="*/ 132207 w 146589"/>
                <a:gd name="connsiteY0" fmla="*/ 132302 h 221456"/>
                <a:gd name="connsiteX1" fmla="*/ 127254 w 146589"/>
                <a:gd name="connsiteY1" fmla="*/ 168402 h 221456"/>
                <a:gd name="connsiteX2" fmla="*/ 114205 w 146589"/>
                <a:gd name="connsiteY2" fmla="*/ 191548 h 221456"/>
                <a:gd name="connsiteX3" fmla="*/ 95345 w 146589"/>
                <a:gd name="connsiteY3" fmla="*/ 203930 h 221456"/>
                <a:gd name="connsiteX4" fmla="*/ 72771 w 146589"/>
                <a:gd name="connsiteY4" fmla="*/ 207550 h 221456"/>
                <a:gd name="connsiteX5" fmla="*/ 50863 w 146589"/>
                <a:gd name="connsiteY5" fmla="*/ 203930 h 221456"/>
                <a:gd name="connsiteX6" fmla="*/ 32576 w 146589"/>
                <a:gd name="connsiteY6" fmla="*/ 191548 h 221456"/>
                <a:gd name="connsiteX7" fmla="*/ 19907 w 146589"/>
                <a:gd name="connsiteY7" fmla="*/ 168402 h 221456"/>
                <a:gd name="connsiteX8" fmla="*/ 15145 w 146589"/>
                <a:gd name="connsiteY8" fmla="*/ 132302 h 221456"/>
                <a:gd name="connsiteX9" fmla="*/ 15145 w 146589"/>
                <a:gd name="connsiteY9" fmla="*/ 0 h 221456"/>
                <a:gd name="connsiteX10" fmla="*/ 0 w 146589"/>
                <a:gd name="connsiteY10" fmla="*/ 0 h 221456"/>
                <a:gd name="connsiteX11" fmla="*/ 0 w 146589"/>
                <a:gd name="connsiteY11" fmla="*/ 134017 h 221456"/>
                <a:gd name="connsiteX12" fmla="*/ 6096 w 146589"/>
                <a:gd name="connsiteY12" fmla="*/ 176308 h 221456"/>
                <a:gd name="connsiteX13" fmla="*/ 22479 w 146589"/>
                <a:gd name="connsiteY13" fmla="*/ 203168 h 221456"/>
                <a:gd name="connsiteX14" fmla="*/ 45911 w 146589"/>
                <a:gd name="connsiteY14" fmla="*/ 217361 h 221456"/>
                <a:gd name="connsiteX15" fmla="*/ 72962 w 146589"/>
                <a:gd name="connsiteY15" fmla="*/ 221456 h 221456"/>
                <a:gd name="connsiteX16" fmla="*/ 100394 w 146589"/>
                <a:gd name="connsiteY16" fmla="*/ 217361 h 221456"/>
                <a:gd name="connsiteX17" fmla="*/ 123825 w 146589"/>
                <a:gd name="connsiteY17" fmla="*/ 203168 h 221456"/>
                <a:gd name="connsiteX18" fmla="*/ 140303 w 146589"/>
                <a:gd name="connsiteY18" fmla="*/ 176308 h 221456"/>
                <a:gd name="connsiteX19" fmla="*/ 146590 w 146589"/>
                <a:gd name="connsiteY19" fmla="*/ 134017 h 221456"/>
                <a:gd name="connsiteX20" fmla="*/ 146590 w 146589"/>
                <a:gd name="connsiteY20" fmla="*/ 0 h 221456"/>
                <a:gd name="connsiteX21" fmla="*/ 132397 w 146589"/>
                <a:gd name="connsiteY21" fmla="*/ 0 h 221456"/>
                <a:gd name="connsiteX22" fmla="*/ 132397 w 146589"/>
                <a:gd name="connsiteY22" fmla="*/ 132302 h 22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6589" h="221456">
                  <a:moveTo>
                    <a:pt x="132207" y="132302"/>
                  </a:moveTo>
                  <a:cubicBezTo>
                    <a:pt x="132207" y="146780"/>
                    <a:pt x="130588" y="158877"/>
                    <a:pt x="127254" y="168402"/>
                  </a:cubicBezTo>
                  <a:cubicBezTo>
                    <a:pt x="123920" y="178022"/>
                    <a:pt x="119634" y="185642"/>
                    <a:pt x="114205" y="191548"/>
                  </a:cubicBezTo>
                  <a:cubicBezTo>
                    <a:pt x="108776" y="197358"/>
                    <a:pt x="102584" y="201549"/>
                    <a:pt x="95345" y="203930"/>
                  </a:cubicBezTo>
                  <a:cubicBezTo>
                    <a:pt x="88202" y="206312"/>
                    <a:pt x="80677" y="207550"/>
                    <a:pt x="72771" y="207550"/>
                  </a:cubicBezTo>
                  <a:cubicBezTo>
                    <a:pt x="65056" y="207550"/>
                    <a:pt x="57721" y="206312"/>
                    <a:pt x="50863" y="203930"/>
                  </a:cubicBezTo>
                  <a:cubicBezTo>
                    <a:pt x="43910" y="201549"/>
                    <a:pt x="37814" y="197358"/>
                    <a:pt x="32576" y="191548"/>
                  </a:cubicBezTo>
                  <a:cubicBezTo>
                    <a:pt x="27337" y="185738"/>
                    <a:pt x="23051" y="178022"/>
                    <a:pt x="19907" y="168402"/>
                  </a:cubicBezTo>
                  <a:cubicBezTo>
                    <a:pt x="16764" y="158877"/>
                    <a:pt x="15145" y="146780"/>
                    <a:pt x="15145" y="132302"/>
                  </a:cubicBezTo>
                  <a:lnTo>
                    <a:pt x="15145" y="0"/>
                  </a:lnTo>
                  <a:lnTo>
                    <a:pt x="0" y="0"/>
                  </a:lnTo>
                  <a:lnTo>
                    <a:pt x="0" y="134017"/>
                  </a:lnTo>
                  <a:cubicBezTo>
                    <a:pt x="0" y="150971"/>
                    <a:pt x="2000" y="165068"/>
                    <a:pt x="6096" y="176308"/>
                  </a:cubicBezTo>
                  <a:cubicBezTo>
                    <a:pt x="10192" y="187547"/>
                    <a:pt x="15621" y="196501"/>
                    <a:pt x="22479" y="203168"/>
                  </a:cubicBezTo>
                  <a:cubicBezTo>
                    <a:pt x="29337" y="209931"/>
                    <a:pt x="37147" y="214598"/>
                    <a:pt x="45911" y="217361"/>
                  </a:cubicBezTo>
                  <a:cubicBezTo>
                    <a:pt x="54673" y="220123"/>
                    <a:pt x="63722" y="221456"/>
                    <a:pt x="72962" y="221456"/>
                  </a:cubicBezTo>
                  <a:cubicBezTo>
                    <a:pt x="82391" y="221456"/>
                    <a:pt x="91535" y="220123"/>
                    <a:pt x="100394" y="217361"/>
                  </a:cubicBezTo>
                  <a:cubicBezTo>
                    <a:pt x="109156" y="214598"/>
                    <a:pt x="116967" y="209836"/>
                    <a:pt x="123825" y="203168"/>
                  </a:cubicBezTo>
                  <a:cubicBezTo>
                    <a:pt x="130683" y="196501"/>
                    <a:pt x="136112" y="187452"/>
                    <a:pt x="140303" y="176308"/>
                  </a:cubicBezTo>
                  <a:cubicBezTo>
                    <a:pt x="144494" y="165068"/>
                    <a:pt x="146590" y="150971"/>
                    <a:pt x="146590" y="134017"/>
                  </a:cubicBezTo>
                  <a:lnTo>
                    <a:pt x="146590" y="0"/>
                  </a:lnTo>
                  <a:lnTo>
                    <a:pt x="132397" y="0"/>
                  </a:lnTo>
                  <a:lnTo>
                    <a:pt x="132397" y="13230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4" name="Vrije vorm: vorm 33">
              <a:extLst>
                <a:ext uri="{FF2B5EF4-FFF2-40B4-BE49-F238E27FC236}">
                  <a16:creationId xmlns:a16="http://schemas.microsoft.com/office/drawing/2014/main" id="{181E1149-B97E-46B1-8631-F65C3DE0830B}"/>
                </a:ext>
              </a:extLst>
            </p:cNvPr>
            <p:cNvSpPr/>
            <p:nvPr/>
          </p:nvSpPr>
          <p:spPr>
            <a:xfrm>
              <a:off x="7498460" y="3318605"/>
              <a:ext cx="133731" cy="217551"/>
            </a:xfrm>
            <a:custGeom>
              <a:avLst/>
              <a:gdLst>
                <a:gd name="connsiteX0" fmla="*/ 128207 w 133731"/>
                <a:gd name="connsiteY0" fmla="*/ 32385 h 217551"/>
                <a:gd name="connsiteX1" fmla="*/ 112681 w 133731"/>
                <a:gd name="connsiteY1" fmla="*/ 13526 h 217551"/>
                <a:gd name="connsiteX2" fmla="*/ 87916 w 133731"/>
                <a:gd name="connsiteY2" fmla="*/ 3143 h 217551"/>
                <a:gd name="connsiteX3" fmla="*/ 54769 w 133731"/>
                <a:gd name="connsiteY3" fmla="*/ 0 h 217551"/>
                <a:gd name="connsiteX4" fmla="*/ 0 w 133731"/>
                <a:gd name="connsiteY4" fmla="*/ 0 h 217551"/>
                <a:gd name="connsiteX5" fmla="*/ 0 w 133731"/>
                <a:gd name="connsiteY5" fmla="*/ 217551 h 217551"/>
                <a:gd name="connsiteX6" fmla="*/ 15145 w 133731"/>
                <a:gd name="connsiteY6" fmla="*/ 217551 h 217551"/>
                <a:gd name="connsiteX7" fmla="*/ 15145 w 133731"/>
                <a:gd name="connsiteY7" fmla="*/ 124111 h 217551"/>
                <a:gd name="connsiteX8" fmla="*/ 56102 w 133731"/>
                <a:gd name="connsiteY8" fmla="*/ 124111 h 217551"/>
                <a:gd name="connsiteX9" fmla="*/ 113252 w 133731"/>
                <a:gd name="connsiteY9" fmla="*/ 108395 h 217551"/>
                <a:gd name="connsiteX10" fmla="*/ 133731 w 133731"/>
                <a:gd name="connsiteY10" fmla="*/ 60674 h 217551"/>
                <a:gd name="connsiteX11" fmla="*/ 128207 w 133731"/>
                <a:gd name="connsiteY11" fmla="*/ 32385 h 217551"/>
                <a:gd name="connsiteX12" fmla="*/ 102013 w 133731"/>
                <a:gd name="connsiteY12" fmla="*/ 99441 h 217551"/>
                <a:gd name="connsiteX13" fmla="*/ 52483 w 133731"/>
                <a:gd name="connsiteY13" fmla="*/ 111347 h 217551"/>
                <a:gd name="connsiteX14" fmla="*/ 15145 w 133731"/>
                <a:gd name="connsiteY14" fmla="*/ 111347 h 217551"/>
                <a:gd name="connsiteX15" fmla="*/ 15145 w 133731"/>
                <a:gd name="connsiteY15" fmla="*/ 12954 h 217551"/>
                <a:gd name="connsiteX16" fmla="*/ 51149 w 133731"/>
                <a:gd name="connsiteY16" fmla="*/ 12954 h 217551"/>
                <a:gd name="connsiteX17" fmla="*/ 101537 w 133731"/>
                <a:gd name="connsiteY17" fmla="*/ 23146 h 217551"/>
                <a:gd name="connsiteX18" fmla="*/ 118205 w 133731"/>
                <a:gd name="connsiteY18" fmla="*/ 60770 h 217551"/>
                <a:gd name="connsiteX19" fmla="*/ 102013 w 133731"/>
                <a:gd name="connsiteY19" fmla="*/ 99441 h 217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33731" h="217551">
                  <a:moveTo>
                    <a:pt x="128207" y="32385"/>
                  </a:moveTo>
                  <a:cubicBezTo>
                    <a:pt x="124587" y="24670"/>
                    <a:pt x="119444" y="18383"/>
                    <a:pt x="112681" y="13526"/>
                  </a:cubicBezTo>
                  <a:cubicBezTo>
                    <a:pt x="105918" y="8668"/>
                    <a:pt x="97727" y="5239"/>
                    <a:pt x="87916" y="3143"/>
                  </a:cubicBezTo>
                  <a:cubicBezTo>
                    <a:pt x="78105" y="1048"/>
                    <a:pt x="67056" y="0"/>
                    <a:pt x="54769" y="0"/>
                  </a:cubicBezTo>
                  <a:lnTo>
                    <a:pt x="0" y="0"/>
                  </a:lnTo>
                  <a:lnTo>
                    <a:pt x="0" y="217551"/>
                  </a:lnTo>
                  <a:lnTo>
                    <a:pt x="15145" y="217551"/>
                  </a:lnTo>
                  <a:lnTo>
                    <a:pt x="15145" y="124111"/>
                  </a:lnTo>
                  <a:lnTo>
                    <a:pt x="56102" y="124111"/>
                  </a:lnTo>
                  <a:cubicBezTo>
                    <a:pt x="80486" y="124111"/>
                    <a:pt x="99536" y="118872"/>
                    <a:pt x="113252" y="108395"/>
                  </a:cubicBezTo>
                  <a:cubicBezTo>
                    <a:pt x="126873" y="97917"/>
                    <a:pt x="133731" y="82010"/>
                    <a:pt x="133731" y="60674"/>
                  </a:cubicBezTo>
                  <a:cubicBezTo>
                    <a:pt x="133636" y="49530"/>
                    <a:pt x="131826" y="40100"/>
                    <a:pt x="128207" y="32385"/>
                  </a:cubicBezTo>
                  <a:close/>
                  <a:moveTo>
                    <a:pt x="102013" y="99441"/>
                  </a:moveTo>
                  <a:cubicBezTo>
                    <a:pt x="91250" y="107347"/>
                    <a:pt x="74676" y="111347"/>
                    <a:pt x="52483" y="111347"/>
                  </a:cubicBezTo>
                  <a:lnTo>
                    <a:pt x="15145" y="111347"/>
                  </a:lnTo>
                  <a:lnTo>
                    <a:pt x="15145" y="12954"/>
                  </a:lnTo>
                  <a:lnTo>
                    <a:pt x="51149" y="12954"/>
                  </a:lnTo>
                  <a:cubicBezTo>
                    <a:pt x="73628" y="12954"/>
                    <a:pt x="90392" y="16383"/>
                    <a:pt x="101537" y="23146"/>
                  </a:cubicBezTo>
                  <a:cubicBezTo>
                    <a:pt x="112681" y="30004"/>
                    <a:pt x="118205" y="42482"/>
                    <a:pt x="118205" y="60770"/>
                  </a:cubicBezTo>
                  <a:cubicBezTo>
                    <a:pt x="118110" y="78581"/>
                    <a:pt x="112776" y="91535"/>
                    <a:pt x="102013" y="9944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319924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2" r:id="rId31"/>
    <p:sldLayoutId id="2147483693" r:id="rId32"/>
    <p:sldLayoutId id="2147483694" r:id="rId33"/>
    <p:sldLayoutId id="2147483695" r:id="rId34"/>
    <p:sldLayoutId id="2147483696" r:id="rId35"/>
    <p:sldLayoutId id="2147483697" r:id="rId3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17483" indent="-217483" algn="l" defTabSz="719121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accent2"/>
        </a:buClr>
        <a:buSzPct val="110000"/>
        <a:buFont typeface="Segoe UI Light" panose="020B050204020402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71476" indent="-253994" algn="l" defTabSz="719121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180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719121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rgbClr val="0070C0"/>
        </a:buClr>
        <a:buSzPct val="85000"/>
        <a:buFont typeface="Arial" panose="020B0604020202020204" pitchFamily="34" charset="0"/>
        <a:buNone/>
        <a:defRPr sz="180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719121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None/>
        <a:defRPr sz="1800" b="1" kern="1200" cap="none" spc="31" baseline="0">
          <a:solidFill>
            <a:schemeClr val="tx1"/>
          </a:solidFill>
          <a:latin typeface="+mj-lt"/>
          <a:ea typeface="+mn-ea"/>
          <a:cs typeface="Calibri" panose="020F0502020204030204" pitchFamily="34" charset="0"/>
        </a:defRPr>
      </a:lvl4pPr>
      <a:lvl5pPr marL="271456" indent="-271456" algn="l" defTabSz="719121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accent2"/>
        </a:buClr>
        <a:buFont typeface="+mj-lt"/>
        <a:buAutoNum type="arabicPeriod"/>
        <a:defRPr sz="180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217483" indent="-217483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accent2"/>
        </a:buClr>
        <a:buSzPct val="110000"/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471476" indent="-253994" algn="l" defTabSz="914377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377" rtl="0" eaLnBrk="1" latinLnBrk="0" hangingPunct="1">
        <a:lnSpc>
          <a:spcPct val="90000"/>
        </a:lnSpc>
        <a:spcBef>
          <a:spcPts val="3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j-lt"/>
          <a:ea typeface="+mn-ea"/>
          <a:cs typeface="+mn-cs"/>
        </a:defRPr>
      </a:lvl9pPr>
    </p:bodyStyle>
    <p:otherStyle>
      <a:defPPr>
        <a:defRPr lang="nl-NL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776">
          <p15:clr>
            <a:srgbClr val="F26B43"/>
          </p15:clr>
        </p15:guide>
        <p15:guide id="3" orient="horz" pos="1002">
          <p15:clr>
            <a:srgbClr val="F26B43"/>
          </p15:clr>
        </p15:guide>
        <p15:guide id="5" orient="horz" pos="386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ttangolo 8">
            <a:extLst>
              <a:ext uri="{FF2B5EF4-FFF2-40B4-BE49-F238E27FC236}">
                <a16:creationId xmlns:a16="http://schemas.microsoft.com/office/drawing/2014/main" id="{BC97B096-ABA4-3BC5-8904-5E818D67148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878733" y="0"/>
            <a:ext cx="313267" cy="6858000"/>
          </a:xfrm>
          <a:prstGeom prst="rect">
            <a:avLst/>
          </a:prstGeom>
          <a:solidFill>
            <a:srgbClr val="005B9C"/>
          </a:solidFill>
          <a:ln>
            <a:noFill/>
          </a:ln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endParaRPr lang="it-IT" altLang="it-IT" sz="3200"/>
          </a:p>
        </p:txBody>
      </p:sp>
      <p:pic>
        <p:nvPicPr>
          <p:cNvPr id="1027" name="Immagine 3">
            <a:extLst>
              <a:ext uri="{FF2B5EF4-FFF2-40B4-BE49-F238E27FC236}">
                <a16:creationId xmlns:a16="http://schemas.microsoft.com/office/drawing/2014/main" id="{1CCFD288-9C59-1D00-61C2-8D1AE9A2A08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00" y="6415617"/>
            <a:ext cx="1363133" cy="3132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28" name="Connettore 1 3">
            <a:extLst>
              <a:ext uri="{FF2B5EF4-FFF2-40B4-BE49-F238E27FC236}">
                <a16:creationId xmlns:a16="http://schemas.microsoft.com/office/drawing/2014/main" id="{65987C37-7FB2-E671-83A5-F82B6342E431}"/>
              </a:ext>
            </a:extLst>
          </p:cNvPr>
          <p:cNvCxnSpPr>
            <a:cxnSpLocks noChangeShapeType="1"/>
          </p:cNvCxnSpPr>
          <p:nvPr userDrawn="1"/>
        </p:nvCxnSpPr>
        <p:spPr bwMode="auto">
          <a:xfrm flipH="1">
            <a:off x="431800" y="6309784"/>
            <a:ext cx="11135784" cy="0"/>
          </a:xfrm>
          <a:prstGeom prst="line">
            <a:avLst/>
          </a:prstGeom>
          <a:noFill/>
          <a:ln w="9525" algn="ctr">
            <a:solidFill>
              <a:srgbClr val="00519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2" name="Immagine 2">
            <a:extLst>
              <a:ext uri="{FF2B5EF4-FFF2-40B4-BE49-F238E27FC236}">
                <a16:creationId xmlns:a16="http://schemas.microsoft.com/office/drawing/2014/main" id="{9318C697-D58F-9C23-352C-71A78E35CDCC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9984" y="6411385"/>
            <a:ext cx="1117600" cy="340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32531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bg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bg2"/>
          </a:solidFill>
          <a:latin typeface="Times New Roman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bg2"/>
          </a:solidFill>
          <a:latin typeface="Times New Roman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bg2"/>
          </a:solidFill>
          <a:latin typeface="Times New Roman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bg2"/>
          </a:solidFill>
          <a:latin typeface="Times New Roman" charset="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bg2"/>
          </a:solidFill>
          <a:latin typeface="Times New Roman" charset="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bg2"/>
          </a:solidFill>
          <a:latin typeface="Times New Roman" charset="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bg2"/>
          </a:solidFill>
          <a:latin typeface="Times New Roman" charset="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bg2"/>
          </a:solidFill>
          <a:latin typeface="Times New Roman" charset="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har char="•"/>
        <a:defRPr sz="4267">
          <a:solidFill>
            <a:schemeClr val="bg2"/>
          </a:solidFill>
          <a:latin typeface="+mn-lt"/>
          <a:ea typeface="+mn-ea"/>
          <a:cs typeface="+mn-cs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har char="–"/>
        <a:defRPr sz="3733">
          <a:solidFill>
            <a:schemeClr val="bg2"/>
          </a:solidFill>
          <a:latin typeface="+mn-lt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bg2"/>
          </a:solidFill>
          <a:latin typeface="+mn-lt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Char char="–"/>
        <a:defRPr sz="2667">
          <a:solidFill>
            <a:schemeClr val="bg2"/>
          </a:solidFill>
          <a:latin typeface="+mn-lt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Char char="»"/>
        <a:defRPr sz="2667">
          <a:solidFill>
            <a:schemeClr val="bg2"/>
          </a:solidFill>
          <a:latin typeface="+mn-lt"/>
        </a:defRPr>
      </a:lvl5pPr>
      <a:lvl6pPr marL="3352716" indent="-304792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bg2"/>
          </a:solidFill>
          <a:latin typeface="+mn-lt"/>
        </a:defRPr>
      </a:lvl6pPr>
      <a:lvl7pPr marL="3962301" indent="-304792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bg2"/>
          </a:solidFill>
          <a:latin typeface="+mn-lt"/>
        </a:defRPr>
      </a:lvl7pPr>
      <a:lvl8pPr marL="4571886" indent="-304792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bg2"/>
          </a:solidFill>
          <a:latin typeface="+mn-lt"/>
        </a:defRPr>
      </a:lvl8pPr>
      <a:lvl9pPr marL="5181470" indent="-304792" algn="l" rtl="0" fontAlgn="base">
        <a:spcBef>
          <a:spcPct val="20000"/>
        </a:spcBef>
        <a:spcAft>
          <a:spcPct val="0"/>
        </a:spcAft>
        <a:buChar char="»"/>
        <a:defRPr sz="2667">
          <a:solidFill>
            <a:schemeClr val="bg2"/>
          </a:solidFill>
          <a:latin typeface="+mn-lt"/>
        </a:defRPr>
      </a:lvl9pPr>
    </p:bodyStyle>
    <p:otherStyle>
      <a:defPPr>
        <a:defRPr lang="it-IT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9243FFE4-A4D0-40E1-A142-6EADCAE5F7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2265873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5" imgW="415" imgH="416" progId="TCLayout.ActiveDocument.1">
                  <p:embed/>
                </p:oleObj>
              </mc:Choice>
              <mc:Fallback>
                <p:oleObj name="think-cell Folie" r:id="rId45" imgW="415" imgH="416" progId="TCLayout.ActiveDocument.1">
                  <p:embed/>
                  <p:pic>
                    <p:nvPicPr>
                      <p:cNvPr id="15" name="Objekt 14" hidden="1">
                        <a:extLst>
                          <a:ext uri="{FF2B5EF4-FFF2-40B4-BE49-F238E27FC236}">
                            <a16:creationId xmlns:a16="http://schemas.microsoft.com/office/drawing/2014/main" id="{9243FFE4-A4D0-40E1-A142-6EADCAE5F7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1E0B6FBE-0A07-446E-A075-CE6A4BA9CE5B}"/>
              </a:ext>
            </a:extLst>
          </p:cNvPr>
          <p:cNvSpPr/>
          <p:nvPr userDrawn="1">
            <p:custDataLst>
              <p:tags r:id="rId4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>
              <a:latin typeface="Source Sans Pro" panose="020B0503030403020204" pitchFamily="34" charset="0"/>
              <a:ea typeface="+mj-ea"/>
              <a:cs typeface="+mj-cs"/>
              <a:sym typeface="Source Sans Pro" panose="020B0503030403020204" pitchFamily="34" charset="0"/>
            </a:endParaRPr>
          </a:p>
        </p:txBody>
      </p:sp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977280" y="607965"/>
            <a:ext cx="10653442" cy="38724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Add a slide 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977280" y="1583206"/>
            <a:ext cx="10653442" cy="40138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/>
              <a:t>Click here to add text. Need additional help? PPT Solutions has added extra instructions to the sides of the slides to help style- and process your text.</a:t>
            </a:r>
          </a:p>
          <a:p>
            <a:pPr lvl="1"/>
            <a:r>
              <a:rPr lang="en-US" noProof="0"/>
              <a:t>Sub-bullet</a:t>
            </a:r>
          </a:p>
          <a:p>
            <a:pPr lvl="2"/>
            <a:r>
              <a:rPr lang="en-US" noProof="0"/>
              <a:t>Default text</a:t>
            </a:r>
          </a:p>
          <a:p>
            <a:pPr lvl="3"/>
            <a:r>
              <a:rPr lang="en-US" noProof="0"/>
              <a:t>Subtitle</a:t>
            </a:r>
          </a:p>
          <a:p>
            <a:pPr lvl="4"/>
            <a:r>
              <a:rPr lang="en-US" noProof="0"/>
              <a:t>Numerical bullet</a:t>
            </a:r>
          </a:p>
          <a:p>
            <a:pPr lvl="5"/>
            <a:r>
              <a:rPr lang="en-US" noProof="0"/>
              <a:t>Bullet</a:t>
            </a:r>
          </a:p>
          <a:p>
            <a:pPr lvl="6"/>
            <a:r>
              <a:rPr lang="en-US" noProof="0"/>
              <a:t>Sub-bullet</a:t>
            </a:r>
          </a:p>
          <a:p>
            <a:pPr lvl="7"/>
            <a:r>
              <a:rPr lang="en-US" noProof="0"/>
              <a:t>Default text</a:t>
            </a:r>
          </a:p>
          <a:p>
            <a:pPr lvl="8"/>
            <a:r>
              <a:rPr lang="en-US" noProof="0"/>
              <a:t>Subtitle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698500" y="7457424"/>
            <a:ext cx="20447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2959100" y="7457424"/>
            <a:ext cx="62738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1188680" y="6274117"/>
            <a:ext cx="442041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200" b="1">
                <a:solidFill>
                  <a:schemeClr val="tx2"/>
                </a:solidFill>
                <a:latin typeface="+mn-lt"/>
              </a:defRPr>
            </a:lvl1pPr>
          </a:lstStyle>
          <a:p>
            <a:fld id="{B502C9A5-716F-45E6-800B-D4D02CE26F90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13" name="Tekstvak 12"/>
          <p:cNvSpPr txBox="1"/>
          <p:nvPr userDrawn="1"/>
        </p:nvSpPr>
        <p:spPr>
          <a:xfrm>
            <a:off x="0" y="-937503"/>
            <a:ext cx="12192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0" noProof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DR</a:t>
            </a:r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5411A5D9-E028-4D06-9C98-7FF92BC3E1C9}"/>
              </a:ext>
            </a:extLst>
          </p:cNvPr>
          <p:cNvGrpSpPr/>
          <p:nvPr userDrawn="1"/>
        </p:nvGrpSpPr>
        <p:grpSpPr>
          <a:xfrm>
            <a:off x="-1" y="0"/>
            <a:ext cx="12198787" cy="6858001"/>
            <a:chOff x="-1" y="0"/>
            <a:chExt cx="12176550" cy="6858001"/>
          </a:xfrm>
        </p:grpSpPr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3C0D51EA-2C0B-423F-808A-D7E320607645}"/>
                </a:ext>
              </a:extLst>
            </p:cNvPr>
            <p:cNvSpPr/>
            <p:nvPr userDrawn="1"/>
          </p:nvSpPr>
          <p:spPr>
            <a:xfrm>
              <a:off x="0" y="5597057"/>
              <a:ext cx="12169774" cy="126094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E19B9C6E-D591-4B5A-88EC-0D456E9EEA77}"/>
                </a:ext>
              </a:extLst>
            </p:cNvPr>
            <p:cNvSpPr/>
            <p:nvPr userDrawn="1"/>
          </p:nvSpPr>
          <p:spPr>
            <a:xfrm>
              <a:off x="0" y="0"/>
              <a:ext cx="12169774" cy="607965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C5969C4B-FE96-4B5E-AC7E-F03D13C17B67}"/>
                </a:ext>
              </a:extLst>
            </p:cNvPr>
            <p:cNvSpPr/>
            <p:nvPr userDrawn="1"/>
          </p:nvSpPr>
          <p:spPr>
            <a:xfrm rot="5400000">
              <a:off x="-2941251" y="2941251"/>
              <a:ext cx="6858000" cy="975499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AAE7E668-C2A5-4854-9DA1-0B4C4EAB09BF}"/>
                </a:ext>
              </a:extLst>
            </p:cNvPr>
            <p:cNvSpPr/>
            <p:nvPr userDrawn="1"/>
          </p:nvSpPr>
          <p:spPr>
            <a:xfrm rot="5400000">
              <a:off x="8464034" y="3145485"/>
              <a:ext cx="6858000" cy="567030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3DB02457-A563-4894-84F5-CDE73B5FDF1D}"/>
                </a:ext>
              </a:extLst>
            </p:cNvPr>
            <p:cNvSpPr/>
            <p:nvPr userDrawn="1"/>
          </p:nvSpPr>
          <p:spPr>
            <a:xfrm>
              <a:off x="0" y="995212"/>
              <a:ext cx="12169774" cy="596688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grpSp>
        <p:nvGrpSpPr>
          <p:cNvPr id="19" name="Graphic 17">
            <a:extLst>
              <a:ext uri="{FF2B5EF4-FFF2-40B4-BE49-F238E27FC236}">
                <a16:creationId xmlns:a16="http://schemas.microsoft.com/office/drawing/2014/main" id="{02627F77-9080-4DE4-8BA4-3D3075A25A96}"/>
              </a:ext>
            </a:extLst>
          </p:cNvPr>
          <p:cNvGrpSpPr/>
          <p:nvPr/>
        </p:nvGrpSpPr>
        <p:grpSpPr>
          <a:xfrm>
            <a:off x="696136" y="6432477"/>
            <a:ext cx="1356870" cy="99501"/>
            <a:chOff x="4557712" y="3314700"/>
            <a:chExt cx="3074479" cy="225456"/>
          </a:xfrm>
          <a:solidFill>
            <a:schemeClr val="tx2"/>
          </a:solidFill>
        </p:grpSpPr>
        <p:sp>
          <p:nvSpPr>
            <p:cNvPr id="20" name="Vrije vorm: vorm 19">
              <a:extLst>
                <a:ext uri="{FF2B5EF4-FFF2-40B4-BE49-F238E27FC236}">
                  <a16:creationId xmlns:a16="http://schemas.microsoft.com/office/drawing/2014/main" id="{0A8197A2-C238-4097-BD30-0352A2553959}"/>
                </a:ext>
              </a:extLst>
            </p:cNvPr>
            <p:cNvSpPr/>
            <p:nvPr/>
          </p:nvSpPr>
          <p:spPr>
            <a:xfrm>
              <a:off x="4557712" y="3316033"/>
              <a:ext cx="157448" cy="220218"/>
            </a:xfrm>
            <a:custGeom>
              <a:avLst/>
              <a:gdLst>
                <a:gd name="connsiteX0" fmla="*/ 116205 w 157448"/>
                <a:gd name="connsiteY0" fmla="*/ 103346 h 220218"/>
                <a:gd name="connsiteX1" fmla="*/ 116205 w 157448"/>
                <a:gd name="connsiteY1" fmla="*/ 102013 h 220218"/>
                <a:gd name="connsiteX2" fmla="*/ 146209 w 157448"/>
                <a:gd name="connsiteY2" fmla="*/ 54197 h 220218"/>
                <a:gd name="connsiteX3" fmla="*/ 68961 w 157448"/>
                <a:gd name="connsiteY3" fmla="*/ 0 h 220218"/>
                <a:gd name="connsiteX4" fmla="*/ 0 w 157448"/>
                <a:gd name="connsiteY4" fmla="*/ 0 h 220218"/>
                <a:gd name="connsiteX5" fmla="*/ 0 w 157448"/>
                <a:gd name="connsiteY5" fmla="*/ 220218 h 220218"/>
                <a:gd name="connsiteX6" fmla="*/ 74581 w 157448"/>
                <a:gd name="connsiteY6" fmla="*/ 220218 h 220218"/>
                <a:gd name="connsiteX7" fmla="*/ 157448 w 157448"/>
                <a:gd name="connsiteY7" fmla="*/ 155543 h 220218"/>
                <a:gd name="connsiteX8" fmla="*/ 116205 w 157448"/>
                <a:gd name="connsiteY8" fmla="*/ 103346 h 220218"/>
                <a:gd name="connsiteX9" fmla="*/ 38291 w 157448"/>
                <a:gd name="connsiteY9" fmla="*/ 30290 h 220218"/>
                <a:gd name="connsiteX10" fmla="*/ 66389 w 157448"/>
                <a:gd name="connsiteY10" fmla="*/ 30290 h 220218"/>
                <a:gd name="connsiteX11" fmla="*/ 108680 w 157448"/>
                <a:gd name="connsiteY11" fmla="*/ 59912 h 220218"/>
                <a:gd name="connsiteX12" fmla="*/ 65818 w 157448"/>
                <a:gd name="connsiteY12" fmla="*/ 90869 h 220218"/>
                <a:gd name="connsiteX13" fmla="*/ 38291 w 157448"/>
                <a:gd name="connsiteY13" fmla="*/ 90869 h 220218"/>
                <a:gd name="connsiteX14" fmla="*/ 38291 w 157448"/>
                <a:gd name="connsiteY14" fmla="*/ 30290 h 220218"/>
                <a:gd name="connsiteX15" fmla="*/ 70676 w 157448"/>
                <a:gd name="connsiteY15" fmla="*/ 189833 h 220218"/>
                <a:gd name="connsiteX16" fmla="*/ 38291 w 157448"/>
                <a:gd name="connsiteY16" fmla="*/ 189833 h 220218"/>
                <a:gd name="connsiteX17" fmla="*/ 38291 w 157448"/>
                <a:gd name="connsiteY17" fmla="*/ 120110 h 220218"/>
                <a:gd name="connsiteX18" fmla="*/ 70676 w 157448"/>
                <a:gd name="connsiteY18" fmla="*/ 120110 h 220218"/>
                <a:gd name="connsiteX19" fmla="*/ 120206 w 157448"/>
                <a:gd name="connsiteY19" fmla="*/ 153448 h 220218"/>
                <a:gd name="connsiteX20" fmla="*/ 70676 w 157448"/>
                <a:gd name="connsiteY20" fmla="*/ 189833 h 220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57448" h="220218">
                  <a:moveTo>
                    <a:pt x="116205" y="103346"/>
                  </a:moveTo>
                  <a:lnTo>
                    <a:pt x="116205" y="102013"/>
                  </a:lnTo>
                  <a:cubicBezTo>
                    <a:pt x="135065" y="95250"/>
                    <a:pt x="146209" y="75057"/>
                    <a:pt x="146209" y="54197"/>
                  </a:cubicBezTo>
                  <a:cubicBezTo>
                    <a:pt x="146209" y="13811"/>
                    <a:pt x="113538" y="0"/>
                    <a:pt x="68961" y="0"/>
                  </a:cubicBezTo>
                  <a:lnTo>
                    <a:pt x="0" y="0"/>
                  </a:lnTo>
                  <a:lnTo>
                    <a:pt x="0" y="220218"/>
                  </a:lnTo>
                  <a:lnTo>
                    <a:pt x="74581" y="220218"/>
                  </a:lnTo>
                  <a:cubicBezTo>
                    <a:pt x="122111" y="220218"/>
                    <a:pt x="157448" y="199644"/>
                    <a:pt x="157448" y="155543"/>
                  </a:cubicBezTo>
                  <a:cubicBezTo>
                    <a:pt x="157448" y="125921"/>
                    <a:pt x="139922" y="108680"/>
                    <a:pt x="116205" y="103346"/>
                  </a:cubicBezTo>
                  <a:close/>
                  <a:moveTo>
                    <a:pt x="38291" y="30290"/>
                  </a:moveTo>
                  <a:lnTo>
                    <a:pt x="66389" y="30290"/>
                  </a:lnTo>
                  <a:cubicBezTo>
                    <a:pt x="94488" y="30290"/>
                    <a:pt x="108680" y="38386"/>
                    <a:pt x="108680" y="59912"/>
                  </a:cubicBezTo>
                  <a:cubicBezTo>
                    <a:pt x="108680" y="78772"/>
                    <a:pt x="95822" y="90869"/>
                    <a:pt x="65818" y="90869"/>
                  </a:cubicBezTo>
                  <a:lnTo>
                    <a:pt x="38291" y="90869"/>
                  </a:lnTo>
                  <a:lnTo>
                    <a:pt x="38291" y="30290"/>
                  </a:lnTo>
                  <a:close/>
                  <a:moveTo>
                    <a:pt x="70676" y="189833"/>
                  </a:moveTo>
                  <a:lnTo>
                    <a:pt x="38291" y="189833"/>
                  </a:lnTo>
                  <a:lnTo>
                    <a:pt x="38291" y="120110"/>
                  </a:lnTo>
                  <a:lnTo>
                    <a:pt x="70676" y="120110"/>
                  </a:lnTo>
                  <a:cubicBezTo>
                    <a:pt x="103061" y="120110"/>
                    <a:pt x="120206" y="130207"/>
                    <a:pt x="120206" y="153448"/>
                  </a:cubicBezTo>
                  <a:cubicBezTo>
                    <a:pt x="120110" y="178118"/>
                    <a:pt x="102299" y="189833"/>
                    <a:pt x="70676" y="18983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Vrije vorm: vorm 20">
              <a:extLst>
                <a:ext uri="{FF2B5EF4-FFF2-40B4-BE49-F238E27FC236}">
                  <a16:creationId xmlns:a16="http://schemas.microsoft.com/office/drawing/2014/main" id="{72B7F311-0293-40EB-9EA4-89AA7755FC08}"/>
                </a:ext>
              </a:extLst>
            </p:cNvPr>
            <p:cNvSpPr/>
            <p:nvPr/>
          </p:nvSpPr>
          <p:spPr>
            <a:xfrm>
              <a:off x="4758118" y="3315938"/>
              <a:ext cx="162686" cy="220218"/>
            </a:xfrm>
            <a:custGeom>
              <a:avLst/>
              <a:gdLst>
                <a:gd name="connsiteX0" fmla="*/ 57721 w 162686"/>
                <a:gd name="connsiteY0" fmla="*/ 0 h 220218"/>
                <a:gd name="connsiteX1" fmla="*/ 0 w 162686"/>
                <a:gd name="connsiteY1" fmla="*/ 0 h 220218"/>
                <a:gd name="connsiteX2" fmla="*/ 0 w 162686"/>
                <a:gd name="connsiteY2" fmla="*/ 220218 h 220218"/>
                <a:gd name="connsiteX3" fmla="*/ 59722 w 162686"/>
                <a:gd name="connsiteY3" fmla="*/ 220218 h 220218"/>
                <a:gd name="connsiteX4" fmla="*/ 162687 w 162686"/>
                <a:gd name="connsiteY4" fmla="*/ 109061 h 220218"/>
                <a:gd name="connsiteX5" fmla="*/ 57721 w 162686"/>
                <a:gd name="connsiteY5" fmla="*/ 0 h 220218"/>
                <a:gd name="connsiteX6" fmla="*/ 55054 w 162686"/>
                <a:gd name="connsiteY6" fmla="*/ 188595 h 220218"/>
                <a:gd name="connsiteX7" fmla="*/ 38195 w 162686"/>
                <a:gd name="connsiteY7" fmla="*/ 188595 h 220218"/>
                <a:gd name="connsiteX8" fmla="*/ 38195 w 162686"/>
                <a:gd name="connsiteY8" fmla="*/ 31718 h 220218"/>
                <a:gd name="connsiteX9" fmla="*/ 55054 w 162686"/>
                <a:gd name="connsiteY9" fmla="*/ 31718 h 220218"/>
                <a:gd name="connsiteX10" fmla="*/ 123349 w 162686"/>
                <a:gd name="connsiteY10" fmla="*/ 109157 h 220218"/>
                <a:gd name="connsiteX11" fmla="*/ 55054 w 162686"/>
                <a:gd name="connsiteY11" fmla="*/ 188595 h 220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2686" h="220218">
                  <a:moveTo>
                    <a:pt x="57721" y="0"/>
                  </a:moveTo>
                  <a:lnTo>
                    <a:pt x="0" y="0"/>
                  </a:lnTo>
                  <a:lnTo>
                    <a:pt x="0" y="220218"/>
                  </a:lnTo>
                  <a:lnTo>
                    <a:pt x="59722" y="220218"/>
                  </a:lnTo>
                  <a:cubicBezTo>
                    <a:pt x="123730" y="220218"/>
                    <a:pt x="162687" y="182118"/>
                    <a:pt x="162687" y="109061"/>
                  </a:cubicBezTo>
                  <a:cubicBezTo>
                    <a:pt x="162687" y="36386"/>
                    <a:pt x="123730" y="0"/>
                    <a:pt x="57721" y="0"/>
                  </a:cubicBezTo>
                  <a:close/>
                  <a:moveTo>
                    <a:pt x="55054" y="188595"/>
                  </a:moveTo>
                  <a:lnTo>
                    <a:pt x="38195" y="188595"/>
                  </a:lnTo>
                  <a:lnTo>
                    <a:pt x="38195" y="31718"/>
                  </a:lnTo>
                  <a:lnTo>
                    <a:pt x="55054" y="31718"/>
                  </a:lnTo>
                  <a:cubicBezTo>
                    <a:pt x="98584" y="31718"/>
                    <a:pt x="123349" y="55245"/>
                    <a:pt x="123349" y="109157"/>
                  </a:cubicBezTo>
                  <a:cubicBezTo>
                    <a:pt x="123444" y="163354"/>
                    <a:pt x="98679" y="188595"/>
                    <a:pt x="55054" y="18859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Vrije vorm: vorm 21">
              <a:extLst>
                <a:ext uri="{FF2B5EF4-FFF2-40B4-BE49-F238E27FC236}">
                  <a16:creationId xmlns:a16="http://schemas.microsoft.com/office/drawing/2014/main" id="{37535077-E552-40D4-A8D3-EA57002C96A2}"/>
                </a:ext>
              </a:extLst>
            </p:cNvPr>
            <p:cNvSpPr/>
            <p:nvPr/>
          </p:nvSpPr>
          <p:spPr>
            <a:xfrm>
              <a:off x="4967382" y="3315938"/>
              <a:ext cx="160782" cy="220218"/>
            </a:xfrm>
            <a:custGeom>
              <a:avLst/>
              <a:gdLst>
                <a:gd name="connsiteX0" fmla="*/ 152210 w 160782"/>
                <a:gd name="connsiteY0" fmla="*/ 65341 h 220218"/>
                <a:gd name="connsiteX1" fmla="*/ 72962 w 160782"/>
                <a:gd name="connsiteY1" fmla="*/ 0 h 220218"/>
                <a:gd name="connsiteX2" fmla="*/ 0 w 160782"/>
                <a:gd name="connsiteY2" fmla="*/ 0 h 220218"/>
                <a:gd name="connsiteX3" fmla="*/ 0 w 160782"/>
                <a:gd name="connsiteY3" fmla="*/ 220218 h 220218"/>
                <a:gd name="connsiteX4" fmla="*/ 38291 w 160782"/>
                <a:gd name="connsiteY4" fmla="*/ 220218 h 220218"/>
                <a:gd name="connsiteX5" fmla="*/ 38291 w 160782"/>
                <a:gd name="connsiteY5" fmla="*/ 134017 h 220218"/>
                <a:gd name="connsiteX6" fmla="*/ 71342 w 160782"/>
                <a:gd name="connsiteY6" fmla="*/ 134017 h 220218"/>
                <a:gd name="connsiteX7" fmla="*/ 117920 w 160782"/>
                <a:gd name="connsiteY7" fmla="*/ 220218 h 220218"/>
                <a:gd name="connsiteX8" fmla="*/ 160782 w 160782"/>
                <a:gd name="connsiteY8" fmla="*/ 220218 h 220218"/>
                <a:gd name="connsiteX9" fmla="*/ 109252 w 160782"/>
                <a:gd name="connsiteY9" fmla="*/ 128302 h 220218"/>
                <a:gd name="connsiteX10" fmla="*/ 152210 w 160782"/>
                <a:gd name="connsiteY10" fmla="*/ 65341 h 220218"/>
                <a:gd name="connsiteX11" fmla="*/ 68961 w 160782"/>
                <a:gd name="connsiteY11" fmla="*/ 103061 h 220218"/>
                <a:gd name="connsiteX12" fmla="*/ 38291 w 160782"/>
                <a:gd name="connsiteY12" fmla="*/ 103061 h 220218"/>
                <a:gd name="connsiteX13" fmla="*/ 38291 w 160782"/>
                <a:gd name="connsiteY13" fmla="*/ 31337 h 220218"/>
                <a:gd name="connsiteX14" fmla="*/ 68961 w 160782"/>
                <a:gd name="connsiteY14" fmla="*/ 31337 h 220218"/>
                <a:gd name="connsiteX15" fmla="*/ 114491 w 160782"/>
                <a:gd name="connsiteY15" fmla="*/ 65341 h 220218"/>
                <a:gd name="connsiteX16" fmla="*/ 68961 w 160782"/>
                <a:gd name="connsiteY16" fmla="*/ 103061 h 220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60782" h="220218">
                  <a:moveTo>
                    <a:pt x="152210" y="65341"/>
                  </a:moveTo>
                  <a:cubicBezTo>
                    <a:pt x="152210" y="16193"/>
                    <a:pt x="117920" y="0"/>
                    <a:pt x="72962" y="0"/>
                  </a:cubicBezTo>
                  <a:lnTo>
                    <a:pt x="0" y="0"/>
                  </a:lnTo>
                  <a:lnTo>
                    <a:pt x="0" y="220218"/>
                  </a:lnTo>
                  <a:lnTo>
                    <a:pt x="38291" y="220218"/>
                  </a:lnTo>
                  <a:lnTo>
                    <a:pt x="38291" y="134017"/>
                  </a:lnTo>
                  <a:lnTo>
                    <a:pt x="71342" y="134017"/>
                  </a:lnTo>
                  <a:lnTo>
                    <a:pt x="117920" y="220218"/>
                  </a:lnTo>
                  <a:lnTo>
                    <a:pt x="160782" y="220218"/>
                  </a:lnTo>
                  <a:lnTo>
                    <a:pt x="109252" y="128302"/>
                  </a:lnTo>
                  <a:cubicBezTo>
                    <a:pt x="134969" y="119253"/>
                    <a:pt x="152210" y="99060"/>
                    <a:pt x="152210" y="65341"/>
                  </a:cubicBezTo>
                  <a:close/>
                  <a:moveTo>
                    <a:pt x="68961" y="103061"/>
                  </a:moveTo>
                  <a:lnTo>
                    <a:pt x="38291" y="103061"/>
                  </a:lnTo>
                  <a:lnTo>
                    <a:pt x="38291" y="31337"/>
                  </a:lnTo>
                  <a:lnTo>
                    <a:pt x="68961" y="31337"/>
                  </a:lnTo>
                  <a:cubicBezTo>
                    <a:pt x="98298" y="31337"/>
                    <a:pt x="114491" y="40100"/>
                    <a:pt x="114491" y="65341"/>
                  </a:cubicBezTo>
                  <a:cubicBezTo>
                    <a:pt x="114586" y="90297"/>
                    <a:pt x="98393" y="103061"/>
                    <a:pt x="68961" y="1030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Vrije vorm: vorm 22">
              <a:extLst>
                <a:ext uri="{FF2B5EF4-FFF2-40B4-BE49-F238E27FC236}">
                  <a16:creationId xmlns:a16="http://schemas.microsoft.com/office/drawing/2014/main" id="{AEDCFBEC-FCCB-4B24-AF2F-B972BC60AEEA}"/>
                </a:ext>
              </a:extLst>
            </p:cNvPr>
            <p:cNvSpPr/>
            <p:nvPr/>
          </p:nvSpPr>
          <p:spPr>
            <a:xfrm>
              <a:off x="5194553" y="3315938"/>
              <a:ext cx="163068" cy="220313"/>
            </a:xfrm>
            <a:custGeom>
              <a:avLst/>
              <a:gdLst>
                <a:gd name="connsiteX0" fmla="*/ 0 w 163068"/>
                <a:gd name="connsiteY0" fmla="*/ 33052 h 220313"/>
                <a:gd name="connsiteX1" fmla="*/ 62389 w 163068"/>
                <a:gd name="connsiteY1" fmla="*/ 33052 h 220313"/>
                <a:gd name="connsiteX2" fmla="*/ 62389 w 163068"/>
                <a:gd name="connsiteY2" fmla="*/ 220313 h 220313"/>
                <a:gd name="connsiteX3" fmla="*/ 100679 w 163068"/>
                <a:gd name="connsiteY3" fmla="*/ 220313 h 220313"/>
                <a:gd name="connsiteX4" fmla="*/ 100679 w 163068"/>
                <a:gd name="connsiteY4" fmla="*/ 33052 h 220313"/>
                <a:gd name="connsiteX5" fmla="*/ 163068 w 163068"/>
                <a:gd name="connsiteY5" fmla="*/ 33052 h 220313"/>
                <a:gd name="connsiteX6" fmla="*/ 163068 w 163068"/>
                <a:gd name="connsiteY6" fmla="*/ 0 h 220313"/>
                <a:gd name="connsiteX7" fmla="*/ 0 w 163068"/>
                <a:gd name="connsiteY7" fmla="*/ 0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068" h="220313">
                  <a:moveTo>
                    <a:pt x="0" y="33052"/>
                  </a:moveTo>
                  <a:lnTo>
                    <a:pt x="62389" y="33052"/>
                  </a:lnTo>
                  <a:lnTo>
                    <a:pt x="62389" y="220313"/>
                  </a:lnTo>
                  <a:lnTo>
                    <a:pt x="100679" y="220313"/>
                  </a:lnTo>
                  <a:lnTo>
                    <a:pt x="100679" y="33052"/>
                  </a:lnTo>
                  <a:lnTo>
                    <a:pt x="163068" y="33052"/>
                  </a:lnTo>
                  <a:lnTo>
                    <a:pt x="16306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Vrije vorm: vorm 23">
              <a:extLst>
                <a:ext uri="{FF2B5EF4-FFF2-40B4-BE49-F238E27FC236}">
                  <a16:creationId xmlns:a16="http://schemas.microsoft.com/office/drawing/2014/main" id="{8ABD55D0-4BD9-429D-A89F-24CF762AB5D1}"/>
                </a:ext>
              </a:extLst>
            </p:cNvPr>
            <p:cNvSpPr/>
            <p:nvPr/>
          </p:nvSpPr>
          <p:spPr>
            <a:xfrm>
              <a:off x="5396864" y="3315938"/>
              <a:ext cx="164020" cy="220313"/>
            </a:xfrm>
            <a:custGeom>
              <a:avLst/>
              <a:gdLst>
                <a:gd name="connsiteX0" fmla="*/ 125730 w 164020"/>
                <a:gd name="connsiteY0" fmla="*/ 88583 h 220313"/>
                <a:gd name="connsiteX1" fmla="*/ 38291 w 164020"/>
                <a:gd name="connsiteY1" fmla="*/ 88583 h 220313"/>
                <a:gd name="connsiteX2" fmla="*/ 38291 w 164020"/>
                <a:gd name="connsiteY2" fmla="*/ 0 h 220313"/>
                <a:gd name="connsiteX3" fmla="*/ 0 w 164020"/>
                <a:gd name="connsiteY3" fmla="*/ 0 h 220313"/>
                <a:gd name="connsiteX4" fmla="*/ 0 w 164020"/>
                <a:gd name="connsiteY4" fmla="*/ 220313 h 220313"/>
                <a:gd name="connsiteX5" fmla="*/ 38291 w 164020"/>
                <a:gd name="connsiteY5" fmla="*/ 220313 h 220313"/>
                <a:gd name="connsiteX6" fmla="*/ 38291 w 164020"/>
                <a:gd name="connsiteY6" fmla="*/ 122587 h 220313"/>
                <a:gd name="connsiteX7" fmla="*/ 125730 w 164020"/>
                <a:gd name="connsiteY7" fmla="*/ 122587 h 220313"/>
                <a:gd name="connsiteX8" fmla="*/ 125730 w 164020"/>
                <a:gd name="connsiteY8" fmla="*/ 220313 h 220313"/>
                <a:gd name="connsiteX9" fmla="*/ 164021 w 164020"/>
                <a:gd name="connsiteY9" fmla="*/ 220313 h 220313"/>
                <a:gd name="connsiteX10" fmla="*/ 164021 w 164020"/>
                <a:gd name="connsiteY10" fmla="*/ 0 h 220313"/>
                <a:gd name="connsiteX11" fmla="*/ 125730 w 164020"/>
                <a:gd name="connsiteY11" fmla="*/ 0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4020" h="220313">
                  <a:moveTo>
                    <a:pt x="125730" y="88583"/>
                  </a:moveTo>
                  <a:lnTo>
                    <a:pt x="38291" y="88583"/>
                  </a:lnTo>
                  <a:lnTo>
                    <a:pt x="38291" y="0"/>
                  </a:lnTo>
                  <a:lnTo>
                    <a:pt x="0" y="0"/>
                  </a:lnTo>
                  <a:lnTo>
                    <a:pt x="0" y="220313"/>
                  </a:lnTo>
                  <a:lnTo>
                    <a:pt x="38291" y="220313"/>
                  </a:lnTo>
                  <a:lnTo>
                    <a:pt x="38291" y="122587"/>
                  </a:lnTo>
                  <a:lnTo>
                    <a:pt x="125730" y="122587"/>
                  </a:lnTo>
                  <a:lnTo>
                    <a:pt x="125730" y="220313"/>
                  </a:lnTo>
                  <a:lnTo>
                    <a:pt x="164021" y="220313"/>
                  </a:lnTo>
                  <a:lnTo>
                    <a:pt x="164021" y="0"/>
                  </a:lnTo>
                  <a:lnTo>
                    <a:pt x="12573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Vrije vorm: vorm 24">
              <a:extLst>
                <a:ext uri="{FF2B5EF4-FFF2-40B4-BE49-F238E27FC236}">
                  <a16:creationId xmlns:a16="http://schemas.microsoft.com/office/drawing/2014/main" id="{11EDE0E5-810E-4DC1-BE68-A4937A42A33B}"/>
                </a:ext>
              </a:extLst>
            </p:cNvPr>
            <p:cNvSpPr/>
            <p:nvPr/>
          </p:nvSpPr>
          <p:spPr>
            <a:xfrm>
              <a:off x="5619082" y="3315938"/>
              <a:ext cx="133350" cy="220313"/>
            </a:xfrm>
            <a:custGeom>
              <a:avLst/>
              <a:gdLst>
                <a:gd name="connsiteX0" fmla="*/ 38290 w 133350"/>
                <a:gd name="connsiteY0" fmla="*/ 122301 h 220313"/>
                <a:gd name="connsiteX1" fmla="*/ 115824 w 133350"/>
                <a:gd name="connsiteY1" fmla="*/ 122301 h 220313"/>
                <a:gd name="connsiteX2" fmla="*/ 115824 w 133350"/>
                <a:gd name="connsiteY2" fmla="*/ 89249 h 220313"/>
                <a:gd name="connsiteX3" fmla="*/ 38290 w 133350"/>
                <a:gd name="connsiteY3" fmla="*/ 89249 h 220313"/>
                <a:gd name="connsiteX4" fmla="*/ 38290 w 133350"/>
                <a:gd name="connsiteY4" fmla="*/ 33052 h 220313"/>
                <a:gd name="connsiteX5" fmla="*/ 130016 w 133350"/>
                <a:gd name="connsiteY5" fmla="*/ 33052 h 220313"/>
                <a:gd name="connsiteX6" fmla="*/ 130016 w 133350"/>
                <a:gd name="connsiteY6" fmla="*/ 0 h 220313"/>
                <a:gd name="connsiteX7" fmla="*/ 0 w 133350"/>
                <a:gd name="connsiteY7" fmla="*/ 0 h 220313"/>
                <a:gd name="connsiteX8" fmla="*/ 0 w 133350"/>
                <a:gd name="connsiteY8" fmla="*/ 220313 h 220313"/>
                <a:gd name="connsiteX9" fmla="*/ 133350 w 133350"/>
                <a:gd name="connsiteY9" fmla="*/ 220313 h 220313"/>
                <a:gd name="connsiteX10" fmla="*/ 133350 w 133350"/>
                <a:gd name="connsiteY10" fmla="*/ 187262 h 220313"/>
                <a:gd name="connsiteX11" fmla="*/ 38290 w 133350"/>
                <a:gd name="connsiteY11" fmla="*/ 187262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3350" h="220313">
                  <a:moveTo>
                    <a:pt x="38290" y="122301"/>
                  </a:moveTo>
                  <a:lnTo>
                    <a:pt x="115824" y="122301"/>
                  </a:lnTo>
                  <a:lnTo>
                    <a:pt x="115824" y="89249"/>
                  </a:lnTo>
                  <a:lnTo>
                    <a:pt x="38290" y="89249"/>
                  </a:lnTo>
                  <a:lnTo>
                    <a:pt x="38290" y="33052"/>
                  </a:lnTo>
                  <a:lnTo>
                    <a:pt x="130016" y="33052"/>
                  </a:lnTo>
                  <a:lnTo>
                    <a:pt x="130016" y="0"/>
                  </a:lnTo>
                  <a:lnTo>
                    <a:pt x="0" y="0"/>
                  </a:lnTo>
                  <a:lnTo>
                    <a:pt x="0" y="220313"/>
                  </a:lnTo>
                  <a:lnTo>
                    <a:pt x="133350" y="220313"/>
                  </a:lnTo>
                  <a:lnTo>
                    <a:pt x="133350" y="187262"/>
                  </a:lnTo>
                  <a:lnTo>
                    <a:pt x="38290" y="1872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Vrije vorm: vorm 25">
              <a:extLst>
                <a:ext uri="{FF2B5EF4-FFF2-40B4-BE49-F238E27FC236}">
                  <a16:creationId xmlns:a16="http://schemas.microsoft.com/office/drawing/2014/main" id="{BAF84494-3125-45A6-BA92-11499FB89320}"/>
                </a:ext>
              </a:extLst>
            </p:cNvPr>
            <p:cNvSpPr/>
            <p:nvPr/>
          </p:nvSpPr>
          <p:spPr>
            <a:xfrm>
              <a:off x="5799581" y="3315938"/>
              <a:ext cx="160781" cy="220218"/>
            </a:xfrm>
            <a:custGeom>
              <a:avLst/>
              <a:gdLst>
                <a:gd name="connsiteX0" fmla="*/ 152209 w 160781"/>
                <a:gd name="connsiteY0" fmla="*/ 65341 h 220218"/>
                <a:gd name="connsiteX1" fmla="*/ 72961 w 160781"/>
                <a:gd name="connsiteY1" fmla="*/ 0 h 220218"/>
                <a:gd name="connsiteX2" fmla="*/ 0 w 160781"/>
                <a:gd name="connsiteY2" fmla="*/ 0 h 220218"/>
                <a:gd name="connsiteX3" fmla="*/ 0 w 160781"/>
                <a:gd name="connsiteY3" fmla="*/ 220218 h 220218"/>
                <a:gd name="connsiteX4" fmla="*/ 38290 w 160781"/>
                <a:gd name="connsiteY4" fmla="*/ 220218 h 220218"/>
                <a:gd name="connsiteX5" fmla="*/ 38290 w 160781"/>
                <a:gd name="connsiteY5" fmla="*/ 134017 h 220218"/>
                <a:gd name="connsiteX6" fmla="*/ 71342 w 160781"/>
                <a:gd name="connsiteY6" fmla="*/ 134017 h 220218"/>
                <a:gd name="connsiteX7" fmla="*/ 117919 w 160781"/>
                <a:gd name="connsiteY7" fmla="*/ 220218 h 220218"/>
                <a:gd name="connsiteX8" fmla="*/ 160782 w 160781"/>
                <a:gd name="connsiteY8" fmla="*/ 220218 h 220218"/>
                <a:gd name="connsiteX9" fmla="*/ 109252 w 160781"/>
                <a:gd name="connsiteY9" fmla="*/ 128302 h 220218"/>
                <a:gd name="connsiteX10" fmla="*/ 152209 w 160781"/>
                <a:gd name="connsiteY10" fmla="*/ 65341 h 220218"/>
                <a:gd name="connsiteX11" fmla="*/ 69056 w 160781"/>
                <a:gd name="connsiteY11" fmla="*/ 103061 h 220218"/>
                <a:gd name="connsiteX12" fmla="*/ 38386 w 160781"/>
                <a:gd name="connsiteY12" fmla="*/ 103061 h 220218"/>
                <a:gd name="connsiteX13" fmla="*/ 38386 w 160781"/>
                <a:gd name="connsiteY13" fmla="*/ 31337 h 220218"/>
                <a:gd name="connsiteX14" fmla="*/ 69056 w 160781"/>
                <a:gd name="connsiteY14" fmla="*/ 31337 h 220218"/>
                <a:gd name="connsiteX15" fmla="*/ 114586 w 160781"/>
                <a:gd name="connsiteY15" fmla="*/ 65341 h 220218"/>
                <a:gd name="connsiteX16" fmla="*/ 69056 w 160781"/>
                <a:gd name="connsiteY16" fmla="*/ 103061 h 220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60781" h="220218">
                  <a:moveTo>
                    <a:pt x="152209" y="65341"/>
                  </a:moveTo>
                  <a:cubicBezTo>
                    <a:pt x="152209" y="16193"/>
                    <a:pt x="117919" y="0"/>
                    <a:pt x="72961" y="0"/>
                  </a:cubicBezTo>
                  <a:lnTo>
                    <a:pt x="0" y="0"/>
                  </a:lnTo>
                  <a:lnTo>
                    <a:pt x="0" y="220218"/>
                  </a:lnTo>
                  <a:lnTo>
                    <a:pt x="38290" y="220218"/>
                  </a:lnTo>
                  <a:lnTo>
                    <a:pt x="38290" y="134017"/>
                  </a:lnTo>
                  <a:lnTo>
                    <a:pt x="71342" y="134017"/>
                  </a:lnTo>
                  <a:lnTo>
                    <a:pt x="117919" y="220218"/>
                  </a:lnTo>
                  <a:lnTo>
                    <a:pt x="160782" y="220218"/>
                  </a:lnTo>
                  <a:lnTo>
                    <a:pt x="109252" y="128302"/>
                  </a:lnTo>
                  <a:cubicBezTo>
                    <a:pt x="135064" y="119253"/>
                    <a:pt x="152209" y="99060"/>
                    <a:pt x="152209" y="65341"/>
                  </a:cubicBezTo>
                  <a:close/>
                  <a:moveTo>
                    <a:pt x="69056" y="103061"/>
                  </a:moveTo>
                  <a:lnTo>
                    <a:pt x="38386" y="103061"/>
                  </a:lnTo>
                  <a:lnTo>
                    <a:pt x="38386" y="31337"/>
                  </a:lnTo>
                  <a:lnTo>
                    <a:pt x="69056" y="31337"/>
                  </a:lnTo>
                  <a:cubicBezTo>
                    <a:pt x="98393" y="31337"/>
                    <a:pt x="114586" y="40100"/>
                    <a:pt x="114586" y="65341"/>
                  </a:cubicBezTo>
                  <a:cubicBezTo>
                    <a:pt x="114586" y="90297"/>
                    <a:pt x="98393" y="103061"/>
                    <a:pt x="69056" y="1030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Vrije vorm: vorm 26">
              <a:extLst>
                <a:ext uri="{FF2B5EF4-FFF2-40B4-BE49-F238E27FC236}">
                  <a16:creationId xmlns:a16="http://schemas.microsoft.com/office/drawing/2014/main" id="{385B6CE9-3C83-434C-A701-5B2E3DA24B17}"/>
                </a:ext>
              </a:extLst>
            </p:cNvPr>
            <p:cNvSpPr/>
            <p:nvPr/>
          </p:nvSpPr>
          <p:spPr>
            <a:xfrm>
              <a:off x="5998273" y="3315938"/>
              <a:ext cx="191166" cy="220313"/>
            </a:xfrm>
            <a:custGeom>
              <a:avLst/>
              <a:gdLst>
                <a:gd name="connsiteX0" fmla="*/ 110300 w 191166"/>
                <a:gd name="connsiteY0" fmla="*/ 107823 h 220313"/>
                <a:gd name="connsiteX1" fmla="*/ 96774 w 191166"/>
                <a:gd name="connsiteY1" fmla="*/ 150971 h 220313"/>
                <a:gd name="connsiteX2" fmla="*/ 95440 w 191166"/>
                <a:gd name="connsiteY2" fmla="*/ 150971 h 220313"/>
                <a:gd name="connsiteX3" fmla="*/ 81534 w 191166"/>
                <a:gd name="connsiteY3" fmla="*/ 107823 h 220313"/>
                <a:gd name="connsiteX4" fmla="*/ 43243 w 191166"/>
                <a:gd name="connsiteY4" fmla="*/ 95 h 220313"/>
                <a:gd name="connsiteX5" fmla="*/ 0 w 191166"/>
                <a:gd name="connsiteY5" fmla="*/ 95 h 220313"/>
                <a:gd name="connsiteX6" fmla="*/ 0 w 191166"/>
                <a:gd name="connsiteY6" fmla="*/ 220313 h 220313"/>
                <a:gd name="connsiteX7" fmla="*/ 34671 w 191166"/>
                <a:gd name="connsiteY7" fmla="*/ 220313 h 220313"/>
                <a:gd name="connsiteX8" fmla="*/ 34671 w 191166"/>
                <a:gd name="connsiteY8" fmla="*/ 119634 h 220313"/>
                <a:gd name="connsiteX9" fmla="*/ 29718 w 191166"/>
                <a:gd name="connsiteY9" fmla="*/ 49625 h 220313"/>
                <a:gd name="connsiteX10" fmla="*/ 31051 w 191166"/>
                <a:gd name="connsiteY10" fmla="*/ 49625 h 220313"/>
                <a:gd name="connsiteX11" fmla="*/ 48196 w 191166"/>
                <a:gd name="connsiteY11" fmla="*/ 100775 h 220313"/>
                <a:gd name="connsiteX12" fmla="*/ 83820 w 191166"/>
                <a:gd name="connsiteY12" fmla="*/ 199739 h 220313"/>
                <a:gd name="connsiteX13" fmla="*/ 106585 w 191166"/>
                <a:gd name="connsiteY13" fmla="*/ 199739 h 220313"/>
                <a:gd name="connsiteX14" fmla="*/ 141922 w 191166"/>
                <a:gd name="connsiteY14" fmla="*/ 100775 h 220313"/>
                <a:gd name="connsiteX15" fmla="*/ 159448 w 191166"/>
                <a:gd name="connsiteY15" fmla="*/ 49625 h 220313"/>
                <a:gd name="connsiteX16" fmla="*/ 160782 w 191166"/>
                <a:gd name="connsiteY16" fmla="*/ 49625 h 220313"/>
                <a:gd name="connsiteX17" fmla="*/ 155829 w 191166"/>
                <a:gd name="connsiteY17" fmla="*/ 119634 h 220313"/>
                <a:gd name="connsiteX18" fmla="*/ 155829 w 191166"/>
                <a:gd name="connsiteY18" fmla="*/ 220313 h 220313"/>
                <a:gd name="connsiteX19" fmla="*/ 191167 w 191166"/>
                <a:gd name="connsiteY19" fmla="*/ 220313 h 220313"/>
                <a:gd name="connsiteX20" fmla="*/ 191167 w 191166"/>
                <a:gd name="connsiteY20" fmla="*/ 0 h 220313"/>
                <a:gd name="connsiteX21" fmla="*/ 147638 w 191166"/>
                <a:gd name="connsiteY21" fmla="*/ 0 h 220313"/>
                <a:gd name="connsiteX22" fmla="*/ 110300 w 191166"/>
                <a:gd name="connsiteY22" fmla="*/ 107823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1166" h="220313">
                  <a:moveTo>
                    <a:pt x="110300" y="107823"/>
                  </a:moveTo>
                  <a:cubicBezTo>
                    <a:pt x="105632" y="121634"/>
                    <a:pt x="101346" y="136493"/>
                    <a:pt x="96774" y="150971"/>
                  </a:cubicBezTo>
                  <a:lnTo>
                    <a:pt x="95440" y="150971"/>
                  </a:lnTo>
                  <a:cubicBezTo>
                    <a:pt x="90868" y="136493"/>
                    <a:pt x="86201" y="121634"/>
                    <a:pt x="81534" y="107823"/>
                  </a:cubicBezTo>
                  <a:lnTo>
                    <a:pt x="43243" y="95"/>
                  </a:lnTo>
                  <a:lnTo>
                    <a:pt x="0" y="95"/>
                  </a:lnTo>
                  <a:lnTo>
                    <a:pt x="0" y="220313"/>
                  </a:lnTo>
                  <a:lnTo>
                    <a:pt x="34671" y="220313"/>
                  </a:lnTo>
                  <a:lnTo>
                    <a:pt x="34671" y="119634"/>
                  </a:lnTo>
                  <a:cubicBezTo>
                    <a:pt x="34671" y="99060"/>
                    <a:pt x="31337" y="69818"/>
                    <a:pt x="29718" y="49625"/>
                  </a:cubicBezTo>
                  <a:lnTo>
                    <a:pt x="31051" y="49625"/>
                  </a:lnTo>
                  <a:lnTo>
                    <a:pt x="48196" y="100775"/>
                  </a:lnTo>
                  <a:lnTo>
                    <a:pt x="83820" y="199739"/>
                  </a:lnTo>
                  <a:lnTo>
                    <a:pt x="106585" y="199739"/>
                  </a:lnTo>
                  <a:lnTo>
                    <a:pt x="141922" y="100775"/>
                  </a:lnTo>
                  <a:lnTo>
                    <a:pt x="159448" y="49625"/>
                  </a:lnTo>
                  <a:lnTo>
                    <a:pt x="160782" y="49625"/>
                  </a:lnTo>
                  <a:cubicBezTo>
                    <a:pt x="158782" y="69818"/>
                    <a:pt x="155829" y="99155"/>
                    <a:pt x="155829" y="119634"/>
                  </a:cubicBezTo>
                  <a:lnTo>
                    <a:pt x="155829" y="220313"/>
                  </a:lnTo>
                  <a:lnTo>
                    <a:pt x="191167" y="220313"/>
                  </a:lnTo>
                  <a:lnTo>
                    <a:pt x="191167" y="0"/>
                  </a:lnTo>
                  <a:lnTo>
                    <a:pt x="147638" y="0"/>
                  </a:lnTo>
                  <a:lnTo>
                    <a:pt x="110300" y="1078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Vrije vorm: vorm 27">
              <a:extLst>
                <a:ext uri="{FF2B5EF4-FFF2-40B4-BE49-F238E27FC236}">
                  <a16:creationId xmlns:a16="http://schemas.microsoft.com/office/drawing/2014/main" id="{9D6E083C-C048-43B1-87A9-72D139C588A9}"/>
                </a:ext>
              </a:extLst>
            </p:cNvPr>
            <p:cNvSpPr/>
            <p:nvPr/>
          </p:nvSpPr>
          <p:spPr>
            <a:xfrm>
              <a:off x="6247256" y="3315938"/>
              <a:ext cx="133350" cy="220313"/>
            </a:xfrm>
            <a:custGeom>
              <a:avLst/>
              <a:gdLst>
                <a:gd name="connsiteX0" fmla="*/ 38290 w 133350"/>
                <a:gd name="connsiteY0" fmla="*/ 122301 h 220313"/>
                <a:gd name="connsiteX1" fmla="*/ 115824 w 133350"/>
                <a:gd name="connsiteY1" fmla="*/ 122301 h 220313"/>
                <a:gd name="connsiteX2" fmla="*/ 115824 w 133350"/>
                <a:gd name="connsiteY2" fmla="*/ 89249 h 220313"/>
                <a:gd name="connsiteX3" fmla="*/ 38290 w 133350"/>
                <a:gd name="connsiteY3" fmla="*/ 89249 h 220313"/>
                <a:gd name="connsiteX4" fmla="*/ 38290 w 133350"/>
                <a:gd name="connsiteY4" fmla="*/ 33052 h 220313"/>
                <a:gd name="connsiteX5" fmla="*/ 130111 w 133350"/>
                <a:gd name="connsiteY5" fmla="*/ 33052 h 220313"/>
                <a:gd name="connsiteX6" fmla="*/ 130111 w 133350"/>
                <a:gd name="connsiteY6" fmla="*/ 0 h 220313"/>
                <a:gd name="connsiteX7" fmla="*/ 0 w 133350"/>
                <a:gd name="connsiteY7" fmla="*/ 0 h 220313"/>
                <a:gd name="connsiteX8" fmla="*/ 0 w 133350"/>
                <a:gd name="connsiteY8" fmla="*/ 220313 h 220313"/>
                <a:gd name="connsiteX9" fmla="*/ 133350 w 133350"/>
                <a:gd name="connsiteY9" fmla="*/ 220313 h 220313"/>
                <a:gd name="connsiteX10" fmla="*/ 133350 w 133350"/>
                <a:gd name="connsiteY10" fmla="*/ 187262 h 220313"/>
                <a:gd name="connsiteX11" fmla="*/ 38290 w 133350"/>
                <a:gd name="connsiteY11" fmla="*/ 187262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3350" h="220313">
                  <a:moveTo>
                    <a:pt x="38290" y="122301"/>
                  </a:moveTo>
                  <a:lnTo>
                    <a:pt x="115824" y="122301"/>
                  </a:lnTo>
                  <a:lnTo>
                    <a:pt x="115824" y="89249"/>
                  </a:lnTo>
                  <a:lnTo>
                    <a:pt x="38290" y="89249"/>
                  </a:lnTo>
                  <a:lnTo>
                    <a:pt x="38290" y="33052"/>
                  </a:lnTo>
                  <a:lnTo>
                    <a:pt x="130111" y="33052"/>
                  </a:lnTo>
                  <a:lnTo>
                    <a:pt x="130111" y="0"/>
                  </a:lnTo>
                  <a:lnTo>
                    <a:pt x="0" y="0"/>
                  </a:lnTo>
                  <a:lnTo>
                    <a:pt x="0" y="220313"/>
                  </a:lnTo>
                  <a:lnTo>
                    <a:pt x="133350" y="220313"/>
                  </a:lnTo>
                  <a:lnTo>
                    <a:pt x="133350" y="187262"/>
                  </a:lnTo>
                  <a:lnTo>
                    <a:pt x="38290" y="18726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Vrije vorm: vorm 28">
              <a:extLst>
                <a:ext uri="{FF2B5EF4-FFF2-40B4-BE49-F238E27FC236}">
                  <a16:creationId xmlns:a16="http://schemas.microsoft.com/office/drawing/2014/main" id="{93D0DA65-9FE7-4FA5-8F14-B319986A116B}"/>
                </a:ext>
              </a:extLst>
            </p:cNvPr>
            <p:cNvSpPr/>
            <p:nvPr/>
          </p:nvSpPr>
          <p:spPr>
            <a:xfrm>
              <a:off x="6403085" y="3315938"/>
              <a:ext cx="185546" cy="220313"/>
            </a:xfrm>
            <a:custGeom>
              <a:avLst/>
              <a:gdLst>
                <a:gd name="connsiteX0" fmla="*/ 70294 w 185546"/>
                <a:gd name="connsiteY0" fmla="*/ 0 h 220313"/>
                <a:gd name="connsiteX1" fmla="*/ 0 w 185546"/>
                <a:gd name="connsiteY1" fmla="*/ 220218 h 220313"/>
                <a:gd name="connsiteX2" fmla="*/ 38957 w 185546"/>
                <a:gd name="connsiteY2" fmla="*/ 220218 h 220313"/>
                <a:gd name="connsiteX3" fmla="*/ 55817 w 185546"/>
                <a:gd name="connsiteY3" fmla="*/ 160687 h 220313"/>
                <a:gd name="connsiteX4" fmla="*/ 128397 w 185546"/>
                <a:gd name="connsiteY4" fmla="*/ 160687 h 220313"/>
                <a:gd name="connsiteX5" fmla="*/ 145256 w 185546"/>
                <a:gd name="connsiteY5" fmla="*/ 220313 h 220313"/>
                <a:gd name="connsiteX6" fmla="*/ 185547 w 185546"/>
                <a:gd name="connsiteY6" fmla="*/ 220313 h 220313"/>
                <a:gd name="connsiteX7" fmla="*/ 115252 w 185546"/>
                <a:gd name="connsiteY7" fmla="*/ 95 h 220313"/>
                <a:gd name="connsiteX8" fmla="*/ 70294 w 185546"/>
                <a:gd name="connsiteY8" fmla="*/ 95 h 220313"/>
                <a:gd name="connsiteX9" fmla="*/ 64675 w 185546"/>
                <a:gd name="connsiteY9" fmla="*/ 130016 h 220313"/>
                <a:gd name="connsiteX10" fmla="*/ 72295 w 185546"/>
                <a:gd name="connsiteY10" fmla="*/ 103061 h 220313"/>
                <a:gd name="connsiteX11" fmla="*/ 91440 w 185546"/>
                <a:gd name="connsiteY11" fmla="*/ 30290 h 220313"/>
                <a:gd name="connsiteX12" fmla="*/ 92773 w 185546"/>
                <a:gd name="connsiteY12" fmla="*/ 30290 h 220313"/>
                <a:gd name="connsiteX13" fmla="*/ 112204 w 185546"/>
                <a:gd name="connsiteY13" fmla="*/ 103061 h 220313"/>
                <a:gd name="connsiteX14" fmla="*/ 119825 w 185546"/>
                <a:gd name="connsiteY14" fmla="*/ 130016 h 220313"/>
                <a:gd name="connsiteX15" fmla="*/ 64675 w 185546"/>
                <a:gd name="connsiteY15" fmla="*/ 130016 h 2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5546" h="220313">
                  <a:moveTo>
                    <a:pt x="70294" y="0"/>
                  </a:moveTo>
                  <a:lnTo>
                    <a:pt x="0" y="220218"/>
                  </a:lnTo>
                  <a:lnTo>
                    <a:pt x="38957" y="220218"/>
                  </a:lnTo>
                  <a:lnTo>
                    <a:pt x="55817" y="160687"/>
                  </a:lnTo>
                  <a:lnTo>
                    <a:pt x="128397" y="160687"/>
                  </a:lnTo>
                  <a:lnTo>
                    <a:pt x="145256" y="220313"/>
                  </a:lnTo>
                  <a:lnTo>
                    <a:pt x="185547" y="220313"/>
                  </a:lnTo>
                  <a:lnTo>
                    <a:pt x="115252" y="95"/>
                  </a:lnTo>
                  <a:lnTo>
                    <a:pt x="70294" y="95"/>
                  </a:lnTo>
                  <a:close/>
                  <a:moveTo>
                    <a:pt x="64675" y="130016"/>
                  </a:moveTo>
                  <a:lnTo>
                    <a:pt x="72295" y="103061"/>
                  </a:lnTo>
                  <a:cubicBezTo>
                    <a:pt x="79248" y="79820"/>
                    <a:pt x="85534" y="54864"/>
                    <a:pt x="91440" y="30290"/>
                  </a:cubicBezTo>
                  <a:lnTo>
                    <a:pt x="92773" y="30290"/>
                  </a:lnTo>
                  <a:cubicBezTo>
                    <a:pt x="99060" y="54578"/>
                    <a:pt x="105346" y="79820"/>
                    <a:pt x="112204" y="103061"/>
                  </a:cubicBezTo>
                  <a:lnTo>
                    <a:pt x="119825" y="130016"/>
                  </a:lnTo>
                  <a:lnTo>
                    <a:pt x="64675" y="13001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Vrije vorm: vorm 29">
              <a:extLst>
                <a:ext uri="{FF2B5EF4-FFF2-40B4-BE49-F238E27FC236}">
                  <a16:creationId xmlns:a16="http://schemas.microsoft.com/office/drawing/2014/main" id="{B517B19C-99F0-49E5-A79A-370AFA9B1A03}"/>
                </a:ext>
              </a:extLst>
            </p:cNvPr>
            <p:cNvSpPr/>
            <p:nvPr/>
          </p:nvSpPr>
          <p:spPr>
            <a:xfrm>
              <a:off x="6668261" y="3314700"/>
              <a:ext cx="157733" cy="225456"/>
            </a:xfrm>
            <a:custGeom>
              <a:avLst/>
              <a:gdLst>
                <a:gd name="connsiteX0" fmla="*/ 91059 w 157733"/>
                <a:gd name="connsiteY0" fmla="*/ 127445 h 225456"/>
                <a:gd name="connsiteX1" fmla="*/ 143256 w 157733"/>
                <a:gd name="connsiteY1" fmla="*/ 127445 h 225456"/>
                <a:gd name="connsiteX2" fmla="*/ 143256 w 157733"/>
                <a:gd name="connsiteY2" fmla="*/ 195167 h 225456"/>
                <a:gd name="connsiteX3" fmla="*/ 122301 w 157733"/>
                <a:gd name="connsiteY3" fmla="*/ 207359 h 225456"/>
                <a:gd name="connsiteX4" fmla="*/ 94393 w 157733"/>
                <a:gd name="connsiteY4" fmla="*/ 211646 h 225456"/>
                <a:gd name="connsiteX5" fmla="*/ 61246 w 157733"/>
                <a:gd name="connsiteY5" fmla="*/ 204502 h 225456"/>
                <a:gd name="connsiteX6" fmla="*/ 36481 w 157733"/>
                <a:gd name="connsiteY6" fmla="*/ 184499 h 225456"/>
                <a:gd name="connsiteX7" fmla="*/ 21146 w 157733"/>
                <a:gd name="connsiteY7" fmla="*/ 153257 h 225456"/>
                <a:gd name="connsiteX8" fmla="*/ 15907 w 157733"/>
                <a:gd name="connsiteY8" fmla="*/ 112205 h 225456"/>
                <a:gd name="connsiteX9" fmla="*/ 21526 w 157733"/>
                <a:gd name="connsiteY9" fmla="*/ 71247 h 225456"/>
                <a:gd name="connsiteX10" fmla="*/ 37529 w 157733"/>
                <a:gd name="connsiteY10" fmla="*/ 40386 h 225456"/>
                <a:gd name="connsiteX11" fmla="*/ 62770 w 157733"/>
                <a:gd name="connsiteY11" fmla="*/ 20765 h 225456"/>
                <a:gd name="connsiteX12" fmla="*/ 96488 w 157733"/>
                <a:gd name="connsiteY12" fmla="*/ 13811 h 225456"/>
                <a:gd name="connsiteX13" fmla="*/ 126206 w 157733"/>
                <a:gd name="connsiteY13" fmla="*/ 20384 h 225456"/>
                <a:gd name="connsiteX14" fmla="*/ 146685 w 157733"/>
                <a:gd name="connsiteY14" fmla="*/ 36195 h 225456"/>
                <a:gd name="connsiteX15" fmla="*/ 155638 w 157733"/>
                <a:gd name="connsiteY15" fmla="*/ 26003 h 225456"/>
                <a:gd name="connsiteX16" fmla="*/ 145542 w 157733"/>
                <a:gd name="connsiteY16" fmla="*/ 16764 h 225456"/>
                <a:gd name="connsiteX17" fmla="*/ 132493 w 157733"/>
                <a:gd name="connsiteY17" fmla="*/ 8382 h 225456"/>
                <a:gd name="connsiteX18" fmla="*/ 116110 w 157733"/>
                <a:gd name="connsiteY18" fmla="*/ 2286 h 225456"/>
                <a:gd name="connsiteX19" fmla="*/ 96107 w 157733"/>
                <a:gd name="connsiteY19" fmla="*/ 0 h 225456"/>
                <a:gd name="connsiteX20" fmla="*/ 56769 w 157733"/>
                <a:gd name="connsiteY20" fmla="*/ 7715 h 225456"/>
                <a:gd name="connsiteX21" fmla="*/ 26384 w 157733"/>
                <a:gd name="connsiteY21" fmla="*/ 30194 h 225456"/>
                <a:gd name="connsiteX22" fmla="*/ 6953 w 157733"/>
                <a:gd name="connsiteY22" fmla="*/ 65723 h 225456"/>
                <a:gd name="connsiteX23" fmla="*/ 0 w 157733"/>
                <a:gd name="connsiteY23" fmla="*/ 112300 h 225456"/>
                <a:gd name="connsiteX24" fmla="*/ 6763 w 157733"/>
                <a:gd name="connsiteY24" fmla="*/ 159353 h 225456"/>
                <a:gd name="connsiteX25" fmla="*/ 25717 w 157733"/>
                <a:gd name="connsiteY25" fmla="*/ 194977 h 225456"/>
                <a:gd name="connsiteX26" fmla="*/ 55054 w 157733"/>
                <a:gd name="connsiteY26" fmla="*/ 217551 h 225456"/>
                <a:gd name="connsiteX27" fmla="*/ 93345 w 157733"/>
                <a:gd name="connsiteY27" fmla="*/ 225457 h 225456"/>
                <a:gd name="connsiteX28" fmla="*/ 131159 w 157733"/>
                <a:gd name="connsiteY28" fmla="*/ 218504 h 225456"/>
                <a:gd name="connsiteX29" fmla="*/ 157734 w 157733"/>
                <a:gd name="connsiteY29" fmla="*/ 200692 h 225456"/>
                <a:gd name="connsiteX30" fmla="*/ 157734 w 157733"/>
                <a:gd name="connsiteY30" fmla="*/ 114491 h 225456"/>
                <a:gd name="connsiteX31" fmla="*/ 91059 w 157733"/>
                <a:gd name="connsiteY31" fmla="*/ 114491 h 225456"/>
                <a:gd name="connsiteX32" fmla="*/ 91059 w 157733"/>
                <a:gd name="connsiteY32" fmla="*/ 127445 h 225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57733" h="225456">
                  <a:moveTo>
                    <a:pt x="91059" y="127445"/>
                  </a:moveTo>
                  <a:lnTo>
                    <a:pt x="143256" y="127445"/>
                  </a:lnTo>
                  <a:lnTo>
                    <a:pt x="143256" y="195167"/>
                  </a:lnTo>
                  <a:cubicBezTo>
                    <a:pt x="138017" y="200406"/>
                    <a:pt x="130969" y="204502"/>
                    <a:pt x="122301" y="207359"/>
                  </a:cubicBezTo>
                  <a:cubicBezTo>
                    <a:pt x="113633" y="210217"/>
                    <a:pt x="104299" y="211646"/>
                    <a:pt x="94393" y="211646"/>
                  </a:cubicBezTo>
                  <a:cubicBezTo>
                    <a:pt x="82105" y="211646"/>
                    <a:pt x="70961" y="209264"/>
                    <a:pt x="61246" y="204502"/>
                  </a:cubicBezTo>
                  <a:cubicBezTo>
                    <a:pt x="51435" y="199739"/>
                    <a:pt x="43243" y="193072"/>
                    <a:pt x="36481" y="184499"/>
                  </a:cubicBezTo>
                  <a:cubicBezTo>
                    <a:pt x="29718" y="175927"/>
                    <a:pt x="24670" y="165544"/>
                    <a:pt x="21146" y="153257"/>
                  </a:cubicBezTo>
                  <a:cubicBezTo>
                    <a:pt x="17621" y="141065"/>
                    <a:pt x="15907" y="127349"/>
                    <a:pt x="15907" y="112205"/>
                  </a:cubicBezTo>
                  <a:cubicBezTo>
                    <a:pt x="15907" y="97060"/>
                    <a:pt x="17812" y="83344"/>
                    <a:pt x="21526" y="71247"/>
                  </a:cubicBezTo>
                  <a:cubicBezTo>
                    <a:pt x="25241" y="59150"/>
                    <a:pt x="30575" y="48863"/>
                    <a:pt x="37529" y="40386"/>
                  </a:cubicBezTo>
                  <a:cubicBezTo>
                    <a:pt x="44482" y="31909"/>
                    <a:pt x="52864" y="25337"/>
                    <a:pt x="62770" y="20765"/>
                  </a:cubicBezTo>
                  <a:cubicBezTo>
                    <a:pt x="72676" y="16097"/>
                    <a:pt x="83915" y="13811"/>
                    <a:pt x="96488" y="13811"/>
                  </a:cubicBezTo>
                  <a:cubicBezTo>
                    <a:pt x="108395" y="13811"/>
                    <a:pt x="118300" y="16002"/>
                    <a:pt x="126206" y="20384"/>
                  </a:cubicBezTo>
                  <a:cubicBezTo>
                    <a:pt x="134112" y="24765"/>
                    <a:pt x="140970" y="30099"/>
                    <a:pt x="146685" y="36195"/>
                  </a:cubicBezTo>
                  <a:lnTo>
                    <a:pt x="155638" y="26003"/>
                  </a:lnTo>
                  <a:cubicBezTo>
                    <a:pt x="152781" y="22955"/>
                    <a:pt x="149447" y="19812"/>
                    <a:pt x="145542" y="16764"/>
                  </a:cubicBezTo>
                  <a:cubicBezTo>
                    <a:pt x="141637" y="13716"/>
                    <a:pt x="137350" y="10859"/>
                    <a:pt x="132493" y="8382"/>
                  </a:cubicBezTo>
                  <a:cubicBezTo>
                    <a:pt x="127635" y="5810"/>
                    <a:pt x="122206" y="3810"/>
                    <a:pt x="116110" y="2286"/>
                  </a:cubicBezTo>
                  <a:cubicBezTo>
                    <a:pt x="110014" y="762"/>
                    <a:pt x="103442" y="0"/>
                    <a:pt x="96107" y="0"/>
                  </a:cubicBezTo>
                  <a:cubicBezTo>
                    <a:pt x="81820" y="0"/>
                    <a:pt x="68675" y="2572"/>
                    <a:pt x="56769" y="7715"/>
                  </a:cubicBezTo>
                  <a:cubicBezTo>
                    <a:pt x="44863" y="12859"/>
                    <a:pt x="34766" y="20384"/>
                    <a:pt x="26384" y="30194"/>
                  </a:cubicBezTo>
                  <a:cubicBezTo>
                    <a:pt x="18002" y="40005"/>
                    <a:pt x="11525" y="51816"/>
                    <a:pt x="6953" y="65723"/>
                  </a:cubicBezTo>
                  <a:cubicBezTo>
                    <a:pt x="2381" y="79629"/>
                    <a:pt x="0" y="95059"/>
                    <a:pt x="0" y="112300"/>
                  </a:cubicBezTo>
                  <a:cubicBezTo>
                    <a:pt x="0" y="129731"/>
                    <a:pt x="2286" y="145352"/>
                    <a:pt x="6763" y="159353"/>
                  </a:cubicBezTo>
                  <a:cubicBezTo>
                    <a:pt x="11239" y="173355"/>
                    <a:pt x="17621" y="185261"/>
                    <a:pt x="25717" y="194977"/>
                  </a:cubicBezTo>
                  <a:cubicBezTo>
                    <a:pt x="33814" y="204788"/>
                    <a:pt x="43625" y="212312"/>
                    <a:pt x="55054" y="217551"/>
                  </a:cubicBezTo>
                  <a:cubicBezTo>
                    <a:pt x="66484" y="222790"/>
                    <a:pt x="79248" y="225457"/>
                    <a:pt x="93345" y="225457"/>
                  </a:cubicBezTo>
                  <a:cubicBezTo>
                    <a:pt x="107633" y="225457"/>
                    <a:pt x="120205" y="223171"/>
                    <a:pt x="131159" y="218504"/>
                  </a:cubicBezTo>
                  <a:cubicBezTo>
                    <a:pt x="142018" y="213836"/>
                    <a:pt x="150876" y="207931"/>
                    <a:pt x="157734" y="200692"/>
                  </a:cubicBezTo>
                  <a:lnTo>
                    <a:pt x="157734" y="114491"/>
                  </a:lnTo>
                  <a:lnTo>
                    <a:pt x="91059" y="114491"/>
                  </a:lnTo>
                  <a:lnTo>
                    <a:pt x="91059" y="1274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Vrije vorm: vorm 30">
              <a:extLst>
                <a:ext uri="{FF2B5EF4-FFF2-40B4-BE49-F238E27FC236}">
                  <a16:creationId xmlns:a16="http://schemas.microsoft.com/office/drawing/2014/main" id="{71603F30-D2DD-4AD4-A1C8-24E578A372FE}"/>
                </a:ext>
              </a:extLst>
            </p:cNvPr>
            <p:cNvSpPr/>
            <p:nvPr/>
          </p:nvSpPr>
          <p:spPr>
            <a:xfrm>
              <a:off x="6884764" y="3318605"/>
              <a:ext cx="137922" cy="217551"/>
            </a:xfrm>
            <a:custGeom>
              <a:avLst/>
              <a:gdLst>
                <a:gd name="connsiteX0" fmla="*/ 118681 w 137922"/>
                <a:gd name="connsiteY0" fmla="*/ 98393 h 217551"/>
                <a:gd name="connsiteX1" fmla="*/ 133731 w 137922"/>
                <a:gd name="connsiteY1" fmla="*/ 57436 h 217551"/>
                <a:gd name="connsiteX2" fmla="*/ 128588 w 137922"/>
                <a:gd name="connsiteY2" fmla="*/ 31052 h 217551"/>
                <a:gd name="connsiteX3" fmla="*/ 114205 w 137922"/>
                <a:gd name="connsiteY3" fmla="*/ 13240 h 217551"/>
                <a:gd name="connsiteX4" fmla="*/ 91726 w 137922"/>
                <a:gd name="connsiteY4" fmla="*/ 3143 h 217551"/>
                <a:gd name="connsiteX5" fmla="*/ 62389 w 137922"/>
                <a:gd name="connsiteY5" fmla="*/ 0 h 217551"/>
                <a:gd name="connsiteX6" fmla="*/ 0 w 137922"/>
                <a:gd name="connsiteY6" fmla="*/ 0 h 217551"/>
                <a:gd name="connsiteX7" fmla="*/ 0 w 137922"/>
                <a:gd name="connsiteY7" fmla="*/ 217551 h 217551"/>
                <a:gd name="connsiteX8" fmla="*/ 15145 w 137922"/>
                <a:gd name="connsiteY8" fmla="*/ 217551 h 217551"/>
                <a:gd name="connsiteX9" fmla="*/ 15145 w 137922"/>
                <a:gd name="connsiteY9" fmla="*/ 117539 h 217551"/>
                <a:gd name="connsiteX10" fmla="*/ 61341 w 137922"/>
                <a:gd name="connsiteY10" fmla="*/ 117539 h 217551"/>
                <a:gd name="connsiteX11" fmla="*/ 120396 w 137922"/>
                <a:gd name="connsiteY11" fmla="*/ 217551 h 217551"/>
                <a:gd name="connsiteX12" fmla="*/ 137922 w 137922"/>
                <a:gd name="connsiteY12" fmla="*/ 217551 h 217551"/>
                <a:gd name="connsiteX13" fmla="*/ 77819 w 137922"/>
                <a:gd name="connsiteY13" fmla="*/ 116491 h 217551"/>
                <a:gd name="connsiteX14" fmla="*/ 118681 w 137922"/>
                <a:gd name="connsiteY14" fmla="*/ 98393 h 217551"/>
                <a:gd name="connsiteX15" fmla="*/ 58388 w 137922"/>
                <a:gd name="connsiteY15" fmla="*/ 105061 h 217551"/>
                <a:gd name="connsiteX16" fmla="*/ 15145 w 137922"/>
                <a:gd name="connsiteY16" fmla="*/ 105061 h 217551"/>
                <a:gd name="connsiteX17" fmla="*/ 15145 w 137922"/>
                <a:gd name="connsiteY17" fmla="*/ 12954 h 217551"/>
                <a:gd name="connsiteX18" fmla="*/ 58388 w 137922"/>
                <a:gd name="connsiteY18" fmla="*/ 12954 h 217551"/>
                <a:gd name="connsiteX19" fmla="*/ 102584 w 137922"/>
                <a:gd name="connsiteY19" fmla="*/ 23051 h 217551"/>
                <a:gd name="connsiteX20" fmla="*/ 118110 w 137922"/>
                <a:gd name="connsiteY20" fmla="*/ 57531 h 217551"/>
                <a:gd name="connsiteX21" fmla="*/ 102775 w 137922"/>
                <a:gd name="connsiteY21" fmla="*/ 93345 h 217551"/>
                <a:gd name="connsiteX22" fmla="*/ 58388 w 137922"/>
                <a:gd name="connsiteY22" fmla="*/ 105061 h 217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7922" h="217551">
                  <a:moveTo>
                    <a:pt x="118681" y="98393"/>
                  </a:moveTo>
                  <a:cubicBezTo>
                    <a:pt x="128683" y="88487"/>
                    <a:pt x="133731" y="74867"/>
                    <a:pt x="133731" y="57436"/>
                  </a:cubicBezTo>
                  <a:cubicBezTo>
                    <a:pt x="133731" y="47054"/>
                    <a:pt x="132017" y="38291"/>
                    <a:pt x="128588" y="31052"/>
                  </a:cubicBezTo>
                  <a:cubicBezTo>
                    <a:pt x="125159" y="23813"/>
                    <a:pt x="120396" y="17812"/>
                    <a:pt x="114205" y="13240"/>
                  </a:cubicBezTo>
                  <a:cubicBezTo>
                    <a:pt x="108013" y="8572"/>
                    <a:pt x="100584" y="5239"/>
                    <a:pt x="91726" y="3143"/>
                  </a:cubicBezTo>
                  <a:cubicBezTo>
                    <a:pt x="82963" y="1048"/>
                    <a:pt x="73152" y="0"/>
                    <a:pt x="62389" y="0"/>
                  </a:cubicBezTo>
                  <a:lnTo>
                    <a:pt x="0" y="0"/>
                  </a:lnTo>
                  <a:lnTo>
                    <a:pt x="0" y="217551"/>
                  </a:lnTo>
                  <a:lnTo>
                    <a:pt x="15145" y="217551"/>
                  </a:lnTo>
                  <a:lnTo>
                    <a:pt x="15145" y="117539"/>
                  </a:lnTo>
                  <a:lnTo>
                    <a:pt x="61341" y="117539"/>
                  </a:lnTo>
                  <a:lnTo>
                    <a:pt x="120396" y="217551"/>
                  </a:lnTo>
                  <a:lnTo>
                    <a:pt x="137922" y="217551"/>
                  </a:lnTo>
                  <a:lnTo>
                    <a:pt x="77819" y="116491"/>
                  </a:lnTo>
                  <a:cubicBezTo>
                    <a:pt x="95059" y="114395"/>
                    <a:pt x="108680" y="108299"/>
                    <a:pt x="118681" y="98393"/>
                  </a:cubicBezTo>
                  <a:close/>
                  <a:moveTo>
                    <a:pt x="58388" y="105061"/>
                  </a:moveTo>
                  <a:lnTo>
                    <a:pt x="15145" y="105061"/>
                  </a:lnTo>
                  <a:lnTo>
                    <a:pt x="15145" y="12954"/>
                  </a:lnTo>
                  <a:lnTo>
                    <a:pt x="58388" y="12954"/>
                  </a:lnTo>
                  <a:cubicBezTo>
                    <a:pt x="77533" y="12954"/>
                    <a:pt x="92297" y="16288"/>
                    <a:pt x="102584" y="23051"/>
                  </a:cubicBezTo>
                  <a:cubicBezTo>
                    <a:pt x="112967" y="29813"/>
                    <a:pt x="118110" y="41243"/>
                    <a:pt x="118110" y="57531"/>
                  </a:cubicBezTo>
                  <a:cubicBezTo>
                    <a:pt x="118110" y="73628"/>
                    <a:pt x="112967" y="85535"/>
                    <a:pt x="102775" y="93345"/>
                  </a:cubicBezTo>
                  <a:cubicBezTo>
                    <a:pt x="92583" y="101156"/>
                    <a:pt x="77724" y="105061"/>
                    <a:pt x="58388" y="10506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Vrije vorm: vorm 31">
              <a:extLst>
                <a:ext uri="{FF2B5EF4-FFF2-40B4-BE49-F238E27FC236}">
                  <a16:creationId xmlns:a16="http://schemas.microsoft.com/office/drawing/2014/main" id="{FA506911-8A9E-42C9-8B76-682694779676}"/>
                </a:ext>
              </a:extLst>
            </p:cNvPr>
            <p:cNvSpPr/>
            <p:nvPr/>
          </p:nvSpPr>
          <p:spPr>
            <a:xfrm>
              <a:off x="7053452" y="3314700"/>
              <a:ext cx="179165" cy="225456"/>
            </a:xfrm>
            <a:custGeom>
              <a:avLst/>
              <a:gdLst>
                <a:gd name="connsiteX0" fmla="*/ 154115 w 179165"/>
                <a:gd name="connsiteY0" fmla="*/ 30194 h 225456"/>
                <a:gd name="connsiteX1" fmla="*/ 125730 w 179165"/>
                <a:gd name="connsiteY1" fmla="*/ 7715 h 225456"/>
                <a:gd name="connsiteX2" fmla="*/ 89440 w 179165"/>
                <a:gd name="connsiteY2" fmla="*/ 0 h 225456"/>
                <a:gd name="connsiteX3" fmla="*/ 53435 w 179165"/>
                <a:gd name="connsiteY3" fmla="*/ 7715 h 225456"/>
                <a:gd name="connsiteX4" fmla="*/ 25051 w 179165"/>
                <a:gd name="connsiteY4" fmla="*/ 30194 h 225456"/>
                <a:gd name="connsiteX5" fmla="*/ 6572 w 179165"/>
                <a:gd name="connsiteY5" fmla="*/ 65532 h 225456"/>
                <a:gd name="connsiteX6" fmla="*/ 0 w 179165"/>
                <a:gd name="connsiteY6" fmla="*/ 111919 h 225456"/>
                <a:gd name="connsiteX7" fmla="*/ 6572 w 179165"/>
                <a:gd name="connsiteY7" fmla="*/ 158591 h 225456"/>
                <a:gd name="connsiteX8" fmla="*/ 25051 w 179165"/>
                <a:gd name="connsiteY8" fmla="*/ 194405 h 225456"/>
                <a:gd name="connsiteX9" fmla="*/ 53435 w 179165"/>
                <a:gd name="connsiteY9" fmla="*/ 217361 h 225456"/>
                <a:gd name="connsiteX10" fmla="*/ 89440 w 179165"/>
                <a:gd name="connsiteY10" fmla="*/ 225457 h 225456"/>
                <a:gd name="connsiteX11" fmla="*/ 125730 w 179165"/>
                <a:gd name="connsiteY11" fmla="*/ 217361 h 225456"/>
                <a:gd name="connsiteX12" fmla="*/ 154115 w 179165"/>
                <a:gd name="connsiteY12" fmla="*/ 194405 h 225456"/>
                <a:gd name="connsiteX13" fmla="*/ 172593 w 179165"/>
                <a:gd name="connsiteY13" fmla="*/ 158591 h 225456"/>
                <a:gd name="connsiteX14" fmla="*/ 179165 w 179165"/>
                <a:gd name="connsiteY14" fmla="*/ 111919 h 225456"/>
                <a:gd name="connsiteX15" fmla="*/ 172593 w 179165"/>
                <a:gd name="connsiteY15" fmla="*/ 65532 h 225456"/>
                <a:gd name="connsiteX16" fmla="*/ 154115 w 179165"/>
                <a:gd name="connsiteY16" fmla="*/ 30194 h 225456"/>
                <a:gd name="connsiteX17" fmla="*/ 157734 w 179165"/>
                <a:gd name="connsiteY17" fmla="*/ 152972 h 225456"/>
                <a:gd name="connsiteX18" fmla="*/ 142685 w 179165"/>
                <a:gd name="connsiteY18" fmla="*/ 184309 h 225456"/>
                <a:gd name="connsiteX19" fmla="*/ 119444 w 179165"/>
                <a:gd name="connsiteY19" fmla="*/ 204406 h 225456"/>
                <a:gd name="connsiteX20" fmla="*/ 89440 w 179165"/>
                <a:gd name="connsiteY20" fmla="*/ 211550 h 225456"/>
                <a:gd name="connsiteX21" fmla="*/ 59246 w 179165"/>
                <a:gd name="connsiteY21" fmla="*/ 204406 h 225456"/>
                <a:gd name="connsiteX22" fmla="*/ 36004 w 179165"/>
                <a:gd name="connsiteY22" fmla="*/ 184309 h 225456"/>
                <a:gd name="connsiteX23" fmla="*/ 21146 w 179165"/>
                <a:gd name="connsiteY23" fmla="*/ 152972 h 225456"/>
                <a:gd name="connsiteX24" fmla="*/ 15907 w 179165"/>
                <a:gd name="connsiteY24" fmla="*/ 111919 h 225456"/>
                <a:gd name="connsiteX25" fmla="*/ 21146 w 179165"/>
                <a:gd name="connsiteY25" fmla="*/ 71342 h 225456"/>
                <a:gd name="connsiteX26" fmla="*/ 36004 w 179165"/>
                <a:gd name="connsiteY26" fmla="*/ 40481 h 225456"/>
                <a:gd name="connsiteX27" fmla="*/ 59246 w 179165"/>
                <a:gd name="connsiteY27" fmla="*/ 20860 h 225456"/>
                <a:gd name="connsiteX28" fmla="*/ 89440 w 179165"/>
                <a:gd name="connsiteY28" fmla="*/ 13907 h 225456"/>
                <a:gd name="connsiteX29" fmla="*/ 119444 w 179165"/>
                <a:gd name="connsiteY29" fmla="*/ 20860 h 225456"/>
                <a:gd name="connsiteX30" fmla="*/ 142685 w 179165"/>
                <a:gd name="connsiteY30" fmla="*/ 40481 h 225456"/>
                <a:gd name="connsiteX31" fmla="*/ 157734 w 179165"/>
                <a:gd name="connsiteY31" fmla="*/ 71342 h 225456"/>
                <a:gd name="connsiteX32" fmla="*/ 162973 w 179165"/>
                <a:gd name="connsiteY32" fmla="*/ 111919 h 225456"/>
                <a:gd name="connsiteX33" fmla="*/ 157734 w 179165"/>
                <a:gd name="connsiteY33" fmla="*/ 152972 h 225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79165" h="225456">
                  <a:moveTo>
                    <a:pt x="154115" y="30194"/>
                  </a:moveTo>
                  <a:cubicBezTo>
                    <a:pt x="146209" y="20384"/>
                    <a:pt x="136684" y="12954"/>
                    <a:pt x="125730" y="7715"/>
                  </a:cubicBezTo>
                  <a:cubicBezTo>
                    <a:pt x="114776" y="2572"/>
                    <a:pt x="102679" y="0"/>
                    <a:pt x="89440" y="0"/>
                  </a:cubicBezTo>
                  <a:cubicBezTo>
                    <a:pt x="76486" y="0"/>
                    <a:pt x="64484" y="2572"/>
                    <a:pt x="53435" y="7715"/>
                  </a:cubicBezTo>
                  <a:cubicBezTo>
                    <a:pt x="42386" y="12859"/>
                    <a:pt x="32957" y="20384"/>
                    <a:pt x="25051" y="30194"/>
                  </a:cubicBezTo>
                  <a:cubicBezTo>
                    <a:pt x="17145" y="40005"/>
                    <a:pt x="10954" y="51816"/>
                    <a:pt x="6572" y="65532"/>
                  </a:cubicBezTo>
                  <a:cubicBezTo>
                    <a:pt x="2191" y="79248"/>
                    <a:pt x="0" y="94774"/>
                    <a:pt x="0" y="111919"/>
                  </a:cubicBezTo>
                  <a:cubicBezTo>
                    <a:pt x="0" y="129064"/>
                    <a:pt x="2191" y="144685"/>
                    <a:pt x="6572" y="158591"/>
                  </a:cubicBezTo>
                  <a:cubicBezTo>
                    <a:pt x="10954" y="172593"/>
                    <a:pt x="17145" y="184499"/>
                    <a:pt x="25051" y="194405"/>
                  </a:cubicBezTo>
                  <a:cubicBezTo>
                    <a:pt x="32957" y="204311"/>
                    <a:pt x="42482" y="211931"/>
                    <a:pt x="53435" y="217361"/>
                  </a:cubicBezTo>
                  <a:cubicBezTo>
                    <a:pt x="64389" y="222790"/>
                    <a:pt x="76486" y="225457"/>
                    <a:pt x="89440" y="225457"/>
                  </a:cubicBezTo>
                  <a:cubicBezTo>
                    <a:pt x="102679" y="225457"/>
                    <a:pt x="114776" y="222790"/>
                    <a:pt x="125730" y="217361"/>
                  </a:cubicBezTo>
                  <a:cubicBezTo>
                    <a:pt x="136779" y="211931"/>
                    <a:pt x="146209" y="204311"/>
                    <a:pt x="154115" y="194405"/>
                  </a:cubicBezTo>
                  <a:cubicBezTo>
                    <a:pt x="162020" y="184499"/>
                    <a:pt x="168212" y="172593"/>
                    <a:pt x="172593" y="158591"/>
                  </a:cubicBezTo>
                  <a:cubicBezTo>
                    <a:pt x="176975" y="144590"/>
                    <a:pt x="179165" y="129064"/>
                    <a:pt x="179165" y="111919"/>
                  </a:cubicBezTo>
                  <a:cubicBezTo>
                    <a:pt x="179165" y="94774"/>
                    <a:pt x="176975" y="79248"/>
                    <a:pt x="172593" y="65532"/>
                  </a:cubicBezTo>
                  <a:cubicBezTo>
                    <a:pt x="168212" y="51816"/>
                    <a:pt x="162116" y="40005"/>
                    <a:pt x="154115" y="30194"/>
                  </a:cubicBezTo>
                  <a:close/>
                  <a:moveTo>
                    <a:pt x="157734" y="152972"/>
                  </a:moveTo>
                  <a:cubicBezTo>
                    <a:pt x="154210" y="165164"/>
                    <a:pt x="149162" y="175641"/>
                    <a:pt x="142685" y="184309"/>
                  </a:cubicBezTo>
                  <a:cubicBezTo>
                    <a:pt x="136208" y="192977"/>
                    <a:pt x="128397" y="199739"/>
                    <a:pt x="119444" y="204406"/>
                  </a:cubicBezTo>
                  <a:cubicBezTo>
                    <a:pt x="110395" y="209169"/>
                    <a:pt x="100394" y="211550"/>
                    <a:pt x="89440" y="211550"/>
                  </a:cubicBezTo>
                  <a:cubicBezTo>
                    <a:pt x="78486" y="211550"/>
                    <a:pt x="68390" y="209169"/>
                    <a:pt x="59246" y="204406"/>
                  </a:cubicBezTo>
                  <a:cubicBezTo>
                    <a:pt x="50102" y="199644"/>
                    <a:pt x="42386" y="192977"/>
                    <a:pt x="36004" y="184309"/>
                  </a:cubicBezTo>
                  <a:cubicBezTo>
                    <a:pt x="29623" y="175641"/>
                    <a:pt x="24670" y="165164"/>
                    <a:pt x="21146" y="152972"/>
                  </a:cubicBezTo>
                  <a:cubicBezTo>
                    <a:pt x="17621" y="140780"/>
                    <a:pt x="15907" y="127064"/>
                    <a:pt x="15907" y="111919"/>
                  </a:cubicBezTo>
                  <a:cubicBezTo>
                    <a:pt x="15907" y="96965"/>
                    <a:pt x="17621" y="83439"/>
                    <a:pt x="21146" y="71342"/>
                  </a:cubicBezTo>
                  <a:cubicBezTo>
                    <a:pt x="24670" y="59245"/>
                    <a:pt x="29623" y="48959"/>
                    <a:pt x="36004" y="40481"/>
                  </a:cubicBezTo>
                  <a:cubicBezTo>
                    <a:pt x="42386" y="32004"/>
                    <a:pt x="50102" y="25432"/>
                    <a:pt x="59246" y="20860"/>
                  </a:cubicBezTo>
                  <a:cubicBezTo>
                    <a:pt x="68390" y="16193"/>
                    <a:pt x="78486" y="13907"/>
                    <a:pt x="89440" y="13907"/>
                  </a:cubicBezTo>
                  <a:cubicBezTo>
                    <a:pt x="100394" y="13907"/>
                    <a:pt x="110490" y="16193"/>
                    <a:pt x="119444" y="20860"/>
                  </a:cubicBezTo>
                  <a:cubicBezTo>
                    <a:pt x="128492" y="25432"/>
                    <a:pt x="136208" y="32004"/>
                    <a:pt x="142685" y="40481"/>
                  </a:cubicBezTo>
                  <a:cubicBezTo>
                    <a:pt x="149162" y="48959"/>
                    <a:pt x="154210" y="59245"/>
                    <a:pt x="157734" y="71342"/>
                  </a:cubicBezTo>
                  <a:cubicBezTo>
                    <a:pt x="161258" y="83439"/>
                    <a:pt x="162973" y="96965"/>
                    <a:pt x="162973" y="111919"/>
                  </a:cubicBezTo>
                  <a:cubicBezTo>
                    <a:pt x="163068" y="127064"/>
                    <a:pt x="161258" y="140780"/>
                    <a:pt x="157734" y="15297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Vrije vorm: vorm 32">
              <a:extLst>
                <a:ext uri="{FF2B5EF4-FFF2-40B4-BE49-F238E27FC236}">
                  <a16:creationId xmlns:a16="http://schemas.microsoft.com/office/drawing/2014/main" id="{FBBB6DB0-106D-4DFD-A186-2DCA95B12DE0}"/>
                </a:ext>
              </a:extLst>
            </p:cNvPr>
            <p:cNvSpPr/>
            <p:nvPr/>
          </p:nvSpPr>
          <p:spPr>
            <a:xfrm>
              <a:off x="7285386" y="3318700"/>
              <a:ext cx="146589" cy="221456"/>
            </a:xfrm>
            <a:custGeom>
              <a:avLst/>
              <a:gdLst>
                <a:gd name="connsiteX0" fmla="*/ 132207 w 146589"/>
                <a:gd name="connsiteY0" fmla="*/ 132302 h 221456"/>
                <a:gd name="connsiteX1" fmla="*/ 127254 w 146589"/>
                <a:gd name="connsiteY1" fmla="*/ 168402 h 221456"/>
                <a:gd name="connsiteX2" fmla="*/ 114205 w 146589"/>
                <a:gd name="connsiteY2" fmla="*/ 191548 h 221456"/>
                <a:gd name="connsiteX3" fmla="*/ 95345 w 146589"/>
                <a:gd name="connsiteY3" fmla="*/ 203930 h 221456"/>
                <a:gd name="connsiteX4" fmla="*/ 72771 w 146589"/>
                <a:gd name="connsiteY4" fmla="*/ 207550 h 221456"/>
                <a:gd name="connsiteX5" fmla="*/ 50863 w 146589"/>
                <a:gd name="connsiteY5" fmla="*/ 203930 h 221456"/>
                <a:gd name="connsiteX6" fmla="*/ 32576 w 146589"/>
                <a:gd name="connsiteY6" fmla="*/ 191548 h 221456"/>
                <a:gd name="connsiteX7" fmla="*/ 19907 w 146589"/>
                <a:gd name="connsiteY7" fmla="*/ 168402 h 221456"/>
                <a:gd name="connsiteX8" fmla="*/ 15145 w 146589"/>
                <a:gd name="connsiteY8" fmla="*/ 132302 h 221456"/>
                <a:gd name="connsiteX9" fmla="*/ 15145 w 146589"/>
                <a:gd name="connsiteY9" fmla="*/ 0 h 221456"/>
                <a:gd name="connsiteX10" fmla="*/ 0 w 146589"/>
                <a:gd name="connsiteY10" fmla="*/ 0 h 221456"/>
                <a:gd name="connsiteX11" fmla="*/ 0 w 146589"/>
                <a:gd name="connsiteY11" fmla="*/ 134017 h 221456"/>
                <a:gd name="connsiteX12" fmla="*/ 6096 w 146589"/>
                <a:gd name="connsiteY12" fmla="*/ 176308 h 221456"/>
                <a:gd name="connsiteX13" fmla="*/ 22479 w 146589"/>
                <a:gd name="connsiteY13" fmla="*/ 203168 h 221456"/>
                <a:gd name="connsiteX14" fmla="*/ 45911 w 146589"/>
                <a:gd name="connsiteY14" fmla="*/ 217361 h 221456"/>
                <a:gd name="connsiteX15" fmla="*/ 72962 w 146589"/>
                <a:gd name="connsiteY15" fmla="*/ 221456 h 221456"/>
                <a:gd name="connsiteX16" fmla="*/ 100394 w 146589"/>
                <a:gd name="connsiteY16" fmla="*/ 217361 h 221456"/>
                <a:gd name="connsiteX17" fmla="*/ 123825 w 146589"/>
                <a:gd name="connsiteY17" fmla="*/ 203168 h 221456"/>
                <a:gd name="connsiteX18" fmla="*/ 140303 w 146589"/>
                <a:gd name="connsiteY18" fmla="*/ 176308 h 221456"/>
                <a:gd name="connsiteX19" fmla="*/ 146590 w 146589"/>
                <a:gd name="connsiteY19" fmla="*/ 134017 h 221456"/>
                <a:gd name="connsiteX20" fmla="*/ 146590 w 146589"/>
                <a:gd name="connsiteY20" fmla="*/ 0 h 221456"/>
                <a:gd name="connsiteX21" fmla="*/ 132397 w 146589"/>
                <a:gd name="connsiteY21" fmla="*/ 0 h 221456"/>
                <a:gd name="connsiteX22" fmla="*/ 132397 w 146589"/>
                <a:gd name="connsiteY22" fmla="*/ 132302 h 221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6589" h="221456">
                  <a:moveTo>
                    <a:pt x="132207" y="132302"/>
                  </a:moveTo>
                  <a:cubicBezTo>
                    <a:pt x="132207" y="146780"/>
                    <a:pt x="130588" y="158877"/>
                    <a:pt x="127254" y="168402"/>
                  </a:cubicBezTo>
                  <a:cubicBezTo>
                    <a:pt x="123920" y="178022"/>
                    <a:pt x="119634" y="185642"/>
                    <a:pt x="114205" y="191548"/>
                  </a:cubicBezTo>
                  <a:cubicBezTo>
                    <a:pt x="108776" y="197358"/>
                    <a:pt x="102584" y="201549"/>
                    <a:pt x="95345" y="203930"/>
                  </a:cubicBezTo>
                  <a:cubicBezTo>
                    <a:pt x="88202" y="206312"/>
                    <a:pt x="80677" y="207550"/>
                    <a:pt x="72771" y="207550"/>
                  </a:cubicBezTo>
                  <a:cubicBezTo>
                    <a:pt x="65056" y="207550"/>
                    <a:pt x="57721" y="206312"/>
                    <a:pt x="50863" y="203930"/>
                  </a:cubicBezTo>
                  <a:cubicBezTo>
                    <a:pt x="43910" y="201549"/>
                    <a:pt x="37814" y="197358"/>
                    <a:pt x="32576" y="191548"/>
                  </a:cubicBezTo>
                  <a:cubicBezTo>
                    <a:pt x="27337" y="185738"/>
                    <a:pt x="23051" y="178022"/>
                    <a:pt x="19907" y="168402"/>
                  </a:cubicBezTo>
                  <a:cubicBezTo>
                    <a:pt x="16764" y="158877"/>
                    <a:pt x="15145" y="146780"/>
                    <a:pt x="15145" y="132302"/>
                  </a:cubicBezTo>
                  <a:lnTo>
                    <a:pt x="15145" y="0"/>
                  </a:lnTo>
                  <a:lnTo>
                    <a:pt x="0" y="0"/>
                  </a:lnTo>
                  <a:lnTo>
                    <a:pt x="0" y="134017"/>
                  </a:lnTo>
                  <a:cubicBezTo>
                    <a:pt x="0" y="150971"/>
                    <a:pt x="2000" y="165068"/>
                    <a:pt x="6096" y="176308"/>
                  </a:cubicBezTo>
                  <a:cubicBezTo>
                    <a:pt x="10192" y="187547"/>
                    <a:pt x="15621" y="196501"/>
                    <a:pt x="22479" y="203168"/>
                  </a:cubicBezTo>
                  <a:cubicBezTo>
                    <a:pt x="29337" y="209931"/>
                    <a:pt x="37147" y="214598"/>
                    <a:pt x="45911" y="217361"/>
                  </a:cubicBezTo>
                  <a:cubicBezTo>
                    <a:pt x="54673" y="220123"/>
                    <a:pt x="63722" y="221456"/>
                    <a:pt x="72962" y="221456"/>
                  </a:cubicBezTo>
                  <a:cubicBezTo>
                    <a:pt x="82391" y="221456"/>
                    <a:pt x="91535" y="220123"/>
                    <a:pt x="100394" y="217361"/>
                  </a:cubicBezTo>
                  <a:cubicBezTo>
                    <a:pt x="109156" y="214598"/>
                    <a:pt x="116967" y="209836"/>
                    <a:pt x="123825" y="203168"/>
                  </a:cubicBezTo>
                  <a:cubicBezTo>
                    <a:pt x="130683" y="196501"/>
                    <a:pt x="136112" y="187452"/>
                    <a:pt x="140303" y="176308"/>
                  </a:cubicBezTo>
                  <a:cubicBezTo>
                    <a:pt x="144494" y="165068"/>
                    <a:pt x="146590" y="150971"/>
                    <a:pt x="146590" y="134017"/>
                  </a:cubicBezTo>
                  <a:lnTo>
                    <a:pt x="146590" y="0"/>
                  </a:lnTo>
                  <a:lnTo>
                    <a:pt x="132397" y="0"/>
                  </a:lnTo>
                  <a:lnTo>
                    <a:pt x="132397" y="13230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Vrije vorm: vorm 33">
              <a:extLst>
                <a:ext uri="{FF2B5EF4-FFF2-40B4-BE49-F238E27FC236}">
                  <a16:creationId xmlns:a16="http://schemas.microsoft.com/office/drawing/2014/main" id="{181E1149-B97E-46B1-8631-F65C3DE0830B}"/>
                </a:ext>
              </a:extLst>
            </p:cNvPr>
            <p:cNvSpPr/>
            <p:nvPr/>
          </p:nvSpPr>
          <p:spPr>
            <a:xfrm>
              <a:off x="7498460" y="3318605"/>
              <a:ext cx="133731" cy="217551"/>
            </a:xfrm>
            <a:custGeom>
              <a:avLst/>
              <a:gdLst>
                <a:gd name="connsiteX0" fmla="*/ 128207 w 133731"/>
                <a:gd name="connsiteY0" fmla="*/ 32385 h 217551"/>
                <a:gd name="connsiteX1" fmla="*/ 112681 w 133731"/>
                <a:gd name="connsiteY1" fmla="*/ 13526 h 217551"/>
                <a:gd name="connsiteX2" fmla="*/ 87916 w 133731"/>
                <a:gd name="connsiteY2" fmla="*/ 3143 h 217551"/>
                <a:gd name="connsiteX3" fmla="*/ 54769 w 133731"/>
                <a:gd name="connsiteY3" fmla="*/ 0 h 217551"/>
                <a:gd name="connsiteX4" fmla="*/ 0 w 133731"/>
                <a:gd name="connsiteY4" fmla="*/ 0 h 217551"/>
                <a:gd name="connsiteX5" fmla="*/ 0 w 133731"/>
                <a:gd name="connsiteY5" fmla="*/ 217551 h 217551"/>
                <a:gd name="connsiteX6" fmla="*/ 15145 w 133731"/>
                <a:gd name="connsiteY6" fmla="*/ 217551 h 217551"/>
                <a:gd name="connsiteX7" fmla="*/ 15145 w 133731"/>
                <a:gd name="connsiteY7" fmla="*/ 124111 h 217551"/>
                <a:gd name="connsiteX8" fmla="*/ 56102 w 133731"/>
                <a:gd name="connsiteY8" fmla="*/ 124111 h 217551"/>
                <a:gd name="connsiteX9" fmla="*/ 113252 w 133731"/>
                <a:gd name="connsiteY9" fmla="*/ 108395 h 217551"/>
                <a:gd name="connsiteX10" fmla="*/ 133731 w 133731"/>
                <a:gd name="connsiteY10" fmla="*/ 60674 h 217551"/>
                <a:gd name="connsiteX11" fmla="*/ 128207 w 133731"/>
                <a:gd name="connsiteY11" fmla="*/ 32385 h 217551"/>
                <a:gd name="connsiteX12" fmla="*/ 102013 w 133731"/>
                <a:gd name="connsiteY12" fmla="*/ 99441 h 217551"/>
                <a:gd name="connsiteX13" fmla="*/ 52483 w 133731"/>
                <a:gd name="connsiteY13" fmla="*/ 111347 h 217551"/>
                <a:gd name="connsiteX14" fmla="*/ 15145 w 133731"/>
                <a:gd name="connsiteY14" fmla="*/ 111347 h 217551"/>
                <a:gd name="connsiteX15" fmla="*/ 15145 w 133731"/>
                <a:gd name="connsiteY15" fmla="*/ 12954 h 217551"/>
                <a:gd name="connsiteX16" fmla="*/ 51149 w 133731"/>
                <a:gd name="connsiteY16" fmla="*/ 12954 h 217551"/>
                <a:gd name="connsiteX17" fmla="*/ 101537 w 133731"/>
                <a:gd name="connsiteY17" fmla="*/ 23146 h 217551"/>
                <a:gd name="connsiteX18" fmla="*/ 118205 w 133731"/>
                <a:gd name="connsiteY18" fmla="*/ 60770 h 217551"/>
                <a:gd name="connsiteX19" fmla="*/ 102013 w 133731"/>
                <a:gd name="connsiteY19" fmla="*/ 99441 h 217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33731" h="217551">
                  <a:moveTo>
                    <a:pt x="128207" y="32385"/>
                  </a:moveTo>
                  <a:cubicBezTo>
                    <a:pt x="124587" y="24670"/>
                    <a:pt x="119444" y="18383"/>
                    <a:pt x="112681" y="13526"/>
                  </a:cubicBezTo>
                  <a:cubicBezTo>
                    <a:pt x="105918" y="8668"/>
                    <a:pt x="97727" y="5239"/>
                    <a:pt x="87916" y="3143"/>
                  </a:cubicBezTo>
                  <a:cubicBezTo>
                    <a:pt x="78105" y="1048"/>
                    <a:pt x="67056" y="0"/>
                    <a:pt x="54769" y="0"/>
                  </a:cubicBezTo>
                  <a:lnTo>
                    <a:pt x="0" y="0"/>
                  </a:lnTo>
                  <a:lnTo>
                    <a:pt x="0" y="217551"/>
                  </a:lnTo>
                  <a:lnTo>
                    <a:pt x="15145" y="217551"/>
                  </a:lnTo>
                  <a:lnTo>
                    <a:pt x="15145" y="124111"/>
                  </a:lnTo>
                  <a:lnTo>
                    <a:pt x="56102" y="124111"/>
                  </a:lnTo>
                  <a:cubicBezTo>
                    <a:pt x="80486" y="124111"/>
                    <a:pt x="99536" y="118872"/>
                    <a:pt x="113252" y="108395"/>
                  </a:cubicBezTo>
                  <a:cubicBezTo>
                    <a:pt x="126873" y="97917"/>
                    <a:pt x="133731" y="82010"/>
                    <a:pt x="133731" y="60674"/>
                  </a:cubicBezTo>
                  <a:cubicBezTo>
                    <a:pt x="133636" y="49530"/>
                    <a:pt x="131826" y="40100"/>
                    <a:pt x="128207" y="32385"/>
                  </a:cubicBezTo>
                  <a:close/>
                  <a:moveTo>
                    <a:pt x="102013" y="99441"/>
                  </a:moveTo>
                  <a:cubicBezTo>
                    <a:pt x="91250" y="107347"/>
                    <a:pt x="74676" y="111347"/>
                    <a:pt x="52483" y="111347"/>
                  </a:cubicBezTo>
                  <a:lnTo>
                    <a:pt x="15145" y="111347"/>
                  </a:lnTo>
                  <a:lnTo>
                    <a:pt x="15145" y="12954"/>
                  </a:lnTo>
                  <a:lnTo>
                    <a:pt x="51149" y="12954"/>
                  </a:lnTo>
                  <a:cubicBezTo>
                    <a:pt x="73628" y="12954"/>
                    <a:pt x="90392" y="16383"/>
                    <a:pt x="101537" y="23146"/>
                  </a:cubicBezTo>
                  <a:cubicBezTo>
                    <a:pt x="112681" y="30004"/>
                    <a:pt x="118205" y="42482"/>
                    <a:pt x="118205" y="60770"/>
                  </a:cubicBezTo>
                  <a:cubicBezTo>
                    <a:pt x="118110" y="78581"/>
                    <a:pt x="112776" y="91535"/>
                    <a:pt x="102013" y="9944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975199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  <p:sldLayoutId id="2147483717" r:id="rId11"/>
    <p:sldLayoutId id="2147483718" r:id="rId12"/>
    <p:sldLayoutId id="2147483719" r:id="rId13"/>
    <p:sldLayoutId id="2147483720" r:id="rId14"/>
    <p:sldLayoutId id="2147483721" r:id="rId15"/>
    <p:sldLayoutId id="2147483722" r:id="rId16"/>
    <p:sldLayoutId id="2147483723" r:id="rId17"/>
    <p:sldLayoutId id="2147483724" r:id="rId18"/>
    <p:sldLayoutId id="2147483725" r:id="rId19"/>
    <p:sldLayoutId id="2147483726" r:id="rId20"/>
    <p:sldLayoutId id="2147483727" r:id="rId21"/>
    <p:sldLayoutId id="2147483728" r:id="rId22"/>
    <p:sldLayoutId id="2147483729" r:id="rId23"/>
    <p:sldLayoutId id="2147483730" r:id="rId24"/>
    <p:sldLayoutId id="2147483731" r:id="rId25"/>
    <p:sldLayoutId id="2147483732" r:id="rId26"/>
    <p:sldLayoutId id="2147483733" r:id="rId27"/>
    <p:sldLayoutId id="2147483734" r:id="rId28"/>
    <p:sldLayoutId id="2147483735" r:id="rId29"/>
    <p:sldLayoutId id="2147483736" r:id="rId30"/>
    <p:sldLayoutId id="2147483737" r:id="rId31"/>
    <p:sldLayoutId id="2147483738" r:id="rId32"/>
    <p:sldLayoutId id="2147483739" r:id="rId33"/>
    <p:sldLayoutId id="2147483740" r:id="rId34"/>
    <p:sldLayoutId id="2147483741" r:id="rId35"/>
    <p:sldLayoutId id="2147483742" r:id="rId36"/>
    <p:sldLayoutId id="2147483743" r:id="rId37"/>
    <p:sldLayoutId id="2147483744" r:id="rId38"/>
    <p:sldLayoutId id="2147483745" r:id="rId39"/>
    <p:sldLayoutId id="2147483746" r:id="rId40"/>
    <p:sldLayoutId id="2147483747" r:id="rId4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17488" indent="-217488" algn="l" defTabSz="719138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accent2"/>
        </a:buClr>
        <a:buSzPct val="110000"/>
        <a:buFont typeface="Segoe UI Light" panose="020B0502040204020203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71488" indent="-254000" algn="l" defTabSz="719138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180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719138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rgbClr val="0070C0"/>
        </a:buClr>
        <a:buSzPct val="85000"/>
        <a:buFont typeface="Arial" panose="020B0604020202020204" pitchFamily="34" charset="0"/>
        <a:buNone/>
        <a:defRPr sz="180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719138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None/>
        <a:defRPr sz="1800" b="1" kern="1200" cap="none" spc="30" baseline="0">
          <a:solidFill>
            <a:schemeClr val="tx1"/>
          </a:solidFill>
          <a:latin typeface="+mj-lt"/>
          <a:ea typeface="+mn-ea"/>
          <a:cs typeface="Calibri" panose="020F0502020204030204" pitchFamily="34" charset="0"/>
        </a:defRPr>
      </a:lvl4pPr>
      <a:lvl5pPr marL="271463" indent="-271463" algn="l" defTabSz="719138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accent2"/>
        </a:buClr>
        <a:buFont typeface="+mj-lt"/>
        <a:buAutoNum type="arabicPeriod"/>
        <a:defRPr sz="180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217488" indent="-217488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accent2"/>
        </a:buClr>
        <a:buSzPct val="110000"/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471488" indent="-254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j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776">
          <p15:clr>
            <a:srgbClr val="F26B43"/>
          </p15:clr>
        </p15:guide>
        <p15:guide id="3" orient="horz" pos="1002">
          <p15:clr>
            <a:srgbClr val="F26B43"/>
          </p15:clr>
        </p15:guide>
        <p15:guide id="5" orient="horz" pos="3867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tangolo 7">
            <a:extLst>
              <a:ext uri="{FF2B5EF4-FFF2-40B4-BE49-F238E27FC236}">
                <a16:creationId xmlns:a16="http://schemas.microsoft.com/office/drawing/2014/main" id="{98D64AE6-BD72-19BD-C924-548BA7375AE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" y="0"/>
            <a:ext cx="11866033" cy="6858000"/>
          </a:xfrm>
          <a:prstGeom prst="rect">
            <a:avLst/>
          </a:prstGeom>
          <a:solidFill>
            <a:srgbClr val="005B9C"/>
          </a:solidFill>
          <a:ln>
            <a:noFill/>
          </a:ln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hangingPunct="1">
              <a:defRPr/>
            </a:pPr>
            <a:endParaRPr lang="it-IT" altLang="it-IT" sz="3200">
              <a:solidFill>
                <a:srgbClr val="000000"/>
              </a:solidFill>
            </a:endParaRPr>
          </a:p>
        </p:txBody>
      </p:sp>
      <p:pic>
        <p:nvPicPr>
          <p:cNvPr id="7171" name="Immagine 1">
            <a:extLst>
              <a:ext uri="{FF2B5EF4-FFF2-40B4-BE49-F238E27FC236}">
                <a16:creationId xmlns:a16="http://schemas.microsoft.com/office/drawing/2014/main" id="{786770E9-15B6-25DB-4A7B-CC939B3ECFDD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6301" y="620184"/>
            <a:ext cx="2010833" cy="6180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Connettore 1 6">
            <a:extLst>
              <a:ext uri="{FF2B5EF4-FFF2-40B4-BE49-F238E27FC236}">
                <a16:creationId xmlns:a16="http://schemas.microsoft.com/office/drawing/2014/main" id="{00CB0781-460E-8AA3-8144-23D6FF42F5ED}"/>
              </a:ext>
            </a:extLst>
          </p:cNvPr>
          <p:cNvCxnSpPr/>
          <p:nvPr userDrawn="1"/>
        </p:nvCxnSpPr>
        <p:spPr>
          <a:xfrm>
            <a:off x="740834" y="4931833"/>
            <a:ext cx="9505951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2367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</p:sldLayoutIdLst>
  <p:transition spd="med">
    <p:fade/>
  </p:transition>
  <p:txStyles>
    <p:titleStyle>
      <a:lvl1pPr algn="ctr" rtl="0" eaLnBrk="0" fontAlgn="base" hangingPunct="0">
        <a:spcBef>
          <a:spcPct val="0"/>
        </a:spcBef>
        <a:spcAft>
          <a:spcPct val="0"/>
        </a:spcAft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itchFamily="34" charset="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90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2.xml"/><Relationship Id="rId5" Type="http://schemas.openxmlformats.org/officeDocument/2006/relationships/image" Target="../media/image46.png"/><Relationship Id="rId4" Type="http://schemas.openxmlformats.org/officeDocument/2006/relationships/hyperlink" Target="https://app.powerbi.com/home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4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4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4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hyperlink" Target="https://baxi-it.crm4.dynamics.com/" TargetMode="External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hyperlink" Target="https://www.baxi.it/Help-interni-Baxi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55.jpeg"/><Relationship Id="rId5" Type="http://schemas.microsoft.com/office/2007/relationships/hdphoto" Target="../media/hdphoto2.wdp"/><Relationship Id="rId4" Type="http://schemas.openxmlformats.org/officeDocument/2006/relationships/image" Target="../media/image5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9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4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CasellaDiTesto 1">
            <a:extLst>
              <a:ext uri="{FF2B5EF4-FFF2-40B4-BE49-F238E27FC236}">
                <a16:creationId xmlns:a16="http://schemas.microsoft.com/office/drawing/2014/main" id="{CEDF17D1-E77F-E5AE-3C18-55448F32F2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9017" y="3112580"/>
            <a:ext cx="9793816" cy="18156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it-IT" altLang="it-IT" sz="3733" b="1" dirty="0">
                <a:solidFill>
                  <a:srgbClr val="FFFFFF"/>
                </a:solidFill>
                <a:latin typeface="Trebuchet MS" panose="020B0603020202020204" pitchFamily="34" charset="0"/>
              </a:rPr>
              <a:t>Navigazione CRM</a:t>
            </a:r>
          </a:p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it-IT" altLang="it-IT" sz="3733" b="1" dirty="0">
                <a:solidFill>
                  <a:srgbClr val="FFFFFF"/>
                </a:solidFill>
                <a:latin typeface="Trebuchet MS" panose="020B0603020202020204" pitchFamily="34" charset="0"/>
              </a:rPr>
              <a:t>Creare un contatto GDPR compliant</a:t>
            </a:r>
          </a:p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it-IT" altLang="it-IT" sz="3733" b="1" dirty="0">
                <a:solidFill>
                  <a:srgbClr val="FFFFFF"/>
                </a:solidFill>
                <a:latin typeface="Trebuchet MS" panose="020B0603020202020204" pitchFamily="34" charset="0"/>
              </a:rPr>
              <a:t>Creare un account e un appuntamento</a:t>
            </a:r>
          </a:p>
        </p:txBody>
      </p:sp>
      <p:pic>
        <p:nvPicPr>
          <p:cNvPr id="2" name="Picture 2" descr="Vettore computer back icon left jean victor arrow icons balin orange arrows  Gratis | AI, SVG ed EPS">
            <a:extLst>
              <a:ext uri="{FF2B5EF4-FFF2-40B4-BE49-F238E27FC236}">
                <a16:creationId xmlns:a16="http://schemas.microsoft.com/office/drawing/2014/main" id="{595F7A85-07DC-A148-85D5-AF0EDCBAB62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34393" b="64451" l="11423" r="46894">
                        <a14:foregroundMark x1="11623" y1="48555" x2="11824" y2="52601"/>
                        <a14:foregroundMark x1="46894" y1="52601" x2="46894" y2="48555"/>
                        <a14:foregroundMark x1="37475" y1="64451" x2="37617" y2="64451"/>
                        <a14:foregroundMark x1="30261" y1="48266" x2="34870" y2="50289"/>
                        <a14:foregroundMark x1="37074" y1="44220" x2="45491" y2="50578"/>
                        <a14:foregroundMark x1="35671" y1="55491" x2="42084" y2="54624"/>
                        <a14:foregroundMark x1="39479" y1="54046" x2="35070" y2="48266"/>
                        <a14:foregroundMark x1="38541" y1="63103" x2="34870" y2="58960"/>
                        <a14:foregroundMark x1="18637" y1="47399" x2="33868" y2="52312"/>
                        <a14:foregroundMark x1="17635" y1="49422" x2="27655" y2="50867"/>
                        <a14:foregroundMark x1="20240" y1="55202" x2="18036" y2="47399"/>
                        <a14:foregroundMark x1="16834" y1="50578" x2="17034" y2="53757"/>
                        <a14:backgroundMark x1="37275" y1="65318" x2="38878" y2="66185"/>
                        <a14:backgroundMark x1="37074" y1="65318" x2="37876" y2="65896"/>
                        <a14:backgroundMark x1="37876" y1="64740" x2="37876" y2="64740"/>
                        <a14:backgroundMark x1="37275" y1="65029" x2="37275" y2="65029"/>
                        <a14:backgroundMark x1="37275" y1="66185" x2="37275" y2="6618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347" t="31539" r="49192" b="31945"/>
          <a:stretch/>
        </p:blipFill>
        <p:spPr bwMode="auto">
          <a:xfrm>
            <a:off x="599017" y="2001935"/>
            <a:ext cx="1777093" cy="1085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CasellaDiTesto 1">
            <a:extLst>
              <a:ext uri="{FF2B5EF4-FFF2-40B4-BE49-F238E27FC236}">
                <a16:creationId xmlns:a16="http://schemas.microsoft.com/office/drawing/2014/main" id="{CEDF17D1-E77F-E5AE-3C18-55448F32F2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9017" y="4140200"/>
            <a:ext cx="9793816" cy="6667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it-IT" altLang="it-IT" sz="3733" b="1" dirty="0">
                <a:solidFill>
                  <a:srgbClr val="FFFFFF"/>
                </a:solidFill>
                <a:latin typeface="Trebuchet MS" panose="020B0603020202020204" pitchFamily="34" charset="0"/>
              </a:rPr>
              <a:t>Power BI</a:t>
            </a:r>
          </a:p>
        </p:txBody>
      </p:sp>
    </p:spTree>
    <p:extLst>
      <p:ext uri="{BB962C8B-B14F-4D97-AF65-F5344CB8AC3E}">
        <p14:creationId xmlns:p14="http://schemas.microsoft.com/office/powerpoint/2010/main" val="2467233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>
            <a:extLst>
              <a:ext uri="{FF2B5EF4-FFF2-40B4-BE49-F238E27FC236}">
                <a16:creationId xmlns:a16="http://schemas.microsoft.com/office/drawing/2014/main" id="{1992C94F-5BBA-4330-E18A-AE43916025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03911" y="514350"/>
            <a:ext cx="6677027" cy="5286599"/>
          </a:xfrm>
          <a:prstGeom prst="rect">
            <a:avLst/>
          </a:prstGeom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id="{070F0BD1-C1A6-340E-C878-18E1D665A1C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2657"/>
          <a:stretch/>
        </p:blipFill>
        <p:spPr>
          <a:xfrm>
            <a:off x="5203913" y="514350"/>
            <a:ext cx="6677026" cy="5400675"/>
          </a:xfrm>
          <a:prstGeom prst="rect">
            <a:avLst/>
          </a:prstGeom>
        </p:spPr>
      </p:pic>
      <p:sp>
        <p:nvSpPr>
          <p:cNvPr id="2" name="Segnaposto testo verticale 4">
            <a:extLst>
              <a:ext uri="{FF2B5EF4-FFF2-40B4-BE49-F238E27FC236}">
                <a16:creationId xmlns:a16="http://schemas.microsoft.com/office/drawing/2014/main" id="{40825CB5-4D9B-738E-6212-0156CE294BFF}"/>
              </a:ext>
            </a:extLst>
          </p:cNvPr>
          <p:cNvSpPr txBox="1">
            <a:spLocks/>
          </p:cNvSpPr>
          <p:nvPr/>
        </p:nvSpPr>
        <p:spPr>
          <a:xfrm>
            <a:off x="510512" y="642337"/>
            <a:ext cx="10653443" cy="3845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  <a:defRPr sz="3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17483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0070C0"/>
              </a:buClr>
              <a:buSzPct val="85000"/>
              <a:buFont typeface="Arial" panose="020B0604020202020204" pitchFamily="34" charset="0"/>
              <a:buNone/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 cap="none" spc="31" baseline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271456" indent="-271456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+mj-lt"/>
              <a:buAutoNum type="arabicPeriod"/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7483" indent="-217483" algn="l" defTabSz="914377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71476" indent="-253994" algn="l" defTabSz="914377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71912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065BAA"/>
              </a:buClr>
              <a:buSzPct val="110000"/>
              <a:buFont typeface="Segoe UI Light" panose="020B0502040204020203" pitchFamily="34" charset="0"/>
              <a:buNone/>
              <a:tabLst/>
              <a:defRPr/>
            </a:pPr>
            <a:r>
              <a:rPr kumimoji="0" lang="it-IT" sz="3000" b="0" i="0" u="none" strike="noStrike" kern="1200" cap="none" spc="0" normalizeH="0" baseline="0" noProof="0" dirty="0">
                <a:ln>
                  <a:noFill/>
                </a:ln>
                <a:solidFill>
                  <a:srgbClr val="065BAA"/>
                </a:solidFill>
                <a:effectLst/>
                <a:uLnTx/>
                <a:uFillTx/>
                <a:latin typeface="Source Sans Pro" panose="020B0503030403020204" pitchFamily="34" charset="0"/>
              </a:rPr>
              <a:t>Frequenza visita</a:t>
            </a:r>
          </a:p>
        </p:txBody>
      </p:sp>
      <p:sp>
        <p:nvSpPr>
          <p:cNvPr id="3" name="Titolo 1">
            <a:extLst>
              <a:ext uri="{FF2B5EF4-FFF2-40B4-BE49-F238E27FC236}">
                <a16:creationId xmlns:a16="http://schemas.microsoft.com/office/drawing/2014/main" id="{6C18FD20-F840-C9AF-1969-6269235008B7}"/>
              </a:ext>
            </a:extLst>
          </p:cNvPr>
          <p:cNvSpPr txBox="1">
            <a:spLocks/>
          </p:cNvSpPr>
          <p:nvPr/>
        </p:nvSpPr>
        <p:spPr>
          <a:xfrm>
            <a:off x="510512" y="255090"/>
            <a:ext cx="10653443" cy="38724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000" b="1" i="0" u="none" strike="noStrike" kern="1200" cap="none" spc="0" normalizeH="0" baseline="0" noProof="0" dirty="0">
                <a:ln>
                  <a:noFill/>
                </a:ln>
                <a:solidFill>
                  <a:srgbClr val="065BAA"/>
                </a:solidFill>
                <a:effectLst/>
                <a:uLnTx/>
                <a:uFillTx/>
                <a:latin typeface="Source Sans Pro" panose="020B0503030403020204" pitchFamily="34" charset="0"/>
              </a:rPr>
              <a:t>CRM</a:t>
            </a:r>
          </a:p>
        </p:txBody>
      </p:sp>
      <p:grpSp>
        <p:nvGrpSpPr>
          <p:cNvPr id="98" name="Gruppo 97">
            <a:extLst>
              <a:ext uri="{FF2B5EF4-FFF2-40B4-BE49-F238E27FC236}">
                <a16:creationId xmlns:a16="http://schemas.microsoft.com/office/drawing/2014/main" id="{2FAECF63-4F52-A7F0-9FCE-F553845855C0}"/>
              </a:ext>
            </a:extLst>
          </p:cNvPr>
          <p:cNvGrpSpPr/>
          <p:nvPr/>
        </p:nvGrpSpPr>
        <p:grpSpPr>
          <a:xfrm>
            <a:off x="499127" y="1435919"/>
            <a:ext cx="4334130" cy="4314825"/>
            <a:chOff x="499127" y="1435919"/>
            <a:chExt cx="4334130" cy="4314825"/>
          </a:xfrm>
        </p:grpSpPr>
        <p:sp>
          <p:nvSpPr>
            <p:cNvPr id="80" name="Text Placeholder 4">
              <a:extLst>
                <a:ext uri="{FF2B5EF4-FFF2-40B4-BE49-F238E27FC236}">
                  <a16:creationId xmlns:a16="http://schemas.microsoft.com/office/drawing/2014/main" id="{5A710BC3-77D4-6E90-ABB0-BBFED9652D8D}"/>
                </a:ext>
              </a:extLst>
            </p:cNvPr>
            <p:cNvSpPr txBox="1">
              <a:spLocks/>
            </p:cNvSpPr>
            <p:nvPr/>
          </p:nvSpPr>
          <p:spPr>
            <a:xfrm>
              <a:off x="499127" y="1435919"/>
              <a:ext cx="4334130" cy="4314825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217488" indent="-217488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10000"/>
                <a:buFont typeface="Segoe UI Light" panose="020B0502040204020203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1488" indent="-254000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  <a:defRPr sz="160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070C0"/>
                </a:buClr>
                <a:buSzPct val="85000"/>
                <a:buFont typeface="Arial" panose="020B0604020202020204" pitchFamily="34" charset="0"/>
                <a:buNone/>
                <a:defRPr sz="160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600" b="1" kern="1200" cap="none" spc="30" baseline="0">
                  <a:solidFill>
                    <a:schemeClr val="tx1"/>
                  </a:solidFill>
                  <a:latin typeface="+mj-lt"/>
                  <a:ea typeface="+mn-ea"/>
                  <a:cs typeface="Calibri" panose="020F0502020204030204" pitchFamily="34" charset="0"/>
                </a:defRPr>
              </a:lvl4pPr>
              <a:lvl5pPr marL="271463" indent="-271463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Font typeface="+mj-lt"/>
                <a:buAutoNum type="arabicPeriod"/>
                <a:defRPr sz="160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7488" indent="-2174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10000"/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71488" indent="-2540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b="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9pPr>
            </a:lstStyle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r>
                <a:rPr kumimoji="0" lang="it-IT" b="0" i="0" u="none" strike="noStrike" kern="120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ource Sans Pro" panose="020B0503030403020204" pitchFamily="34" charset="0"/>
                  <a:cs typeface="Calibri" panose="020F0502020204030204" pitchFamily="34" charset="0"/>
                </a:rPr>
                <a:t>Per visualizzare i report Power BI disponibili è necessario accedere all’App Power BI </a:t>
              </a:r>
              <a:r>
                <a:rPr kumimoji="0" lang="it-IT" b="0" i="0" u="none" strike="noStrike" kern="1200" cap="none" spc="0" normalizeH="0" baseline="0" dirty="0">
                  <a:ln>
                    <a:noFill/>
                  </a:ln>
                  <a:solidFill>
                    <a:srgbClr val="005B99"/>
                  </a:solidFill>
                  <a:effectLst/>
                  <a:uLnTx/>
                  <a:uFillTx/>
                  <a:latin typeface="Source Sans Pro" panose="020B0503030403020204" pitchFamily="34" charset="0"/>
                  <a:cs typeface="Calibri" panose="020F0502020204030204" pitchFamily="34" charset="0"/>
                  <a:hlinkClick r:id="rId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app.powerbi.com/home</a:t>
              </a:r>
              <a:r>
                <a:rPr kumimoji="0" lang="it-IT" b="0" i="0" u="none" strike="noStrike" kern="1200" cap="none" spc="0" normalizeH="0" baseline="0" dirty="0">
                  <a:ln>
                    <a:noFill/>
                  </a:ln>
                  <a:solidFill>
                    <a:srgbClr val="005B99"/>
                  </a:solidFill>
                  <a:effectLst/>
                  <a:uLnTx/>
                  <a:uFillTx/>
                  <a:latin typeface="Source Sans Pro" panose="020B0503030403020204" pitchFamily="34" charset="0"/>
                  <a:cs typeface="Calibri" panose="020F0502020204030204" pitchFamily="34" charset="0"/>
                </a:rPr>
                <a:t> </a:t>
              </a:r>
              <a:r>
                <a:rPr kumimoji="0" lang="it-IT" b="0" i="0" u="none" strike="noStrike" kern="120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ource Sans Pro" panose="020B0503030403020204" pitchFamily="34" charset="0"/>
                  <a:cs typeface="Calibri" panose="020F0502020204030204" pitchFamily="34" charset="0"/>
                </a:rPr>
                <a:t>e cliccare sulle aree di lavoro dal menù di sinistra (1) . Selezionare l’area di lavoro sales &amp; marketing (2) . </a:t>
              </a:r>
            </a:p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endParaRPr lang="it-IT" dirty="0">
                <a:solidFill>
                  <a:sysClr val="windowText" lastClr="000000"/>
                </a:solidFill>
                <a:latin typeface="Source Sans Pro" panose="020B0503030403020204" pitchFamily="34" charset="0"/>
                <a:cs typeface="Calibri" panose="020F0502020204030204" pitchFamily="34" charset="0"/>
              </a:endParaRPr>
            </a:p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endParaRPr kumimoji="0" lang="it-IT" b="0" i="0" u="none" strike="noStrike" kern="120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ource Sans Pro" panose="020B0503030403020204" pitchFamily="34" charset="0"/>
                <a:cs typeface="Calibri" panose="020F0502020204030204" pitchFamily="34" charset="0"/>
              </a:endParaRPr>
            </a:p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endParaRPr kumimoji="0" lang="it-IT" b="0" i="0" u="none" strike="noStrike" kern="120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ource Sans Pro" panose="020B050303040302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3" name="Oval 17">
              <a:extLst>
                <a:ext uri="{FF2B5EF4-FFF2-40B4-BE49-F238E27FC236}">
                  <a16:creationId xmlns:a16="http://schemas.microsoft.com/office/drawing/2014/main" id="{D434C744-CFCB-B8D0-B8CF-F41AA8D85A88}"/>
                </a:ext>
              </a:extLst>
            </p:cNvPr>
            <p:cNvSpPr/>
            <p:nvPr/>
          </p:nvSpPr>
          <p:spPr>
            <a:xfrm>
              <a:off x="3388181" y="2147321"/>
              <a:ext cx="274449" cy="274449"/>
            </a:xfrm>
            <a:prstGeom prst="ellipse">
              <a:avLst/>
            </a:prstGeom>
            <a:solidFill>
              <a:srgbClr val="008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94" name="Oval 18">
              <a:extLst>
                <a:ext uri="{FF2B5EF4-FFF2-40B4-BE49-F238E27FC236}">
                  <a16:creationId xmlns:a16="http://schemas.microsoft.com/office/drawing/2014/main" id="{D04BF174-A584-F2D6-6AFD-AF7FAD8A7466}"/>
                </a:ext>
              </a:extLst>
            </p:cNvPr>
            <p:cNvSpPr/>
            <p:nvPr/>
          </p:nvSpPr>
          <p:spPr>
            <a:xfrm>
              <a:off x="3341345" y="2399467"/>
              <a:ext cx="274449" cy="274449"/>
            </a:xfrm>
            <a:prstGeom prst="ellipse">
              <a:avLst/>
            </a:prstGeom>
            <a:solidFill>
              <a:srgbClr val="008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/>
                  <a:ea typeface="+mn-ea"/>
                  <a:cs typeface="+mn-cs"/>
                </a:rPr>
                <a:t>2</a:t>
              </a:r>
            </a:p>
          </p:txBody>
        </p:sp>
      </p:grpSp>
      <p:pic>
        <p:nvPicPr>
          <p:cNvPr id="7" name="Immagine 6">
            <a:extLst>
              <a:ext uri="{FF2B5EF4-FFF2-40B4-BE49-F238E27FC236}">
                <a16:creationId xmlns:a16="http://schemas.microsoft.com/office/drawing/2014/main" id="{FFFC912B-BBBB-F34F-5AAD-3EB6998D33A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/>
          <a:stretch/>
        </p:blipFill>
        <p:spPr>
          <a:xfrm>
            <a:off x="5203913" y="514350"/>
            <a:ext cx="6677026" cy="5331269"/>
          </a:xfrm>
          <a:prstGeom prst="rect">
            <a:avLst/>
          </a:prstGeom>
        </p:spPr>
      </p:pic>
      <p:sp>
        <p:nvSpPr>
          <p:cNvPr id="10" name="Rectangle 6">
            <a:extLst>
              <a:ext uri="{FF2B5EF4-FFF2-40B4-BE49-F238E27FC236}">
                <a16:creationId xmlns:a16="http://schemas.microsoft.com/office/drawing/2014/main" id="{7F06D342-73AF-C31A-27BA-E21DB3CD811E}"/>
              </a:ext>
            </a:extLst>
          </p:cNvPr>
          <p:cNvSpPr/>
          <p:nvPr/>
        </p:nvSpPr>
        <p:spPr>
          <a:xfrm>
            <a:off x="5556070" y="1550127"/>
            <a:ext cx="1637210" cy="296090"/>
          </a:xfrm>
          <a:prstGeom prst="rect">
            <a:avLst/>
          </a:prstGeom>
          <a:noFill/>
          <a:ln w="28575" cap="flat" cmpd="sng" algn="ctr">
            <a:solidFill>
              <a:srgbClr val="339933">
                <a:alpha val="47843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1" name="Oval 17">
            <a:extLst>
              <a:ext uri="{FF2B5EF4-FFF2-40B4-BE49-F238E27FC236}">
                <a16:creationId xmlns:a16="http://schemas.microsoft.com/office/drawing/2014/main" id="{99D868A9-7A92-15D2-4C01-62A74C1C20CB}"/>
              </a:ext>
            </a:extLst>
          </p:cNvPr>
          <p:cNvSpPr/>
          <p:nvPr/>
        </p:nvSpPr>
        <p:spPr>
          <a:xfrm>
            <a:off x="5351964" y="1480721"/>
            <a:ext cx="274449" cy="274449"/>
          </a:xfrm>
          <a:prstGeom prst="ellipse">
            <a:avLst/>
          </a:prstGeom>
          <a:solidFill>
            <a:srgbClr val="008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4226952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>
            <a:extLst>
              <a:ext uri="{FF2B5EF4-FFF2-40B4-BE49-F238E27FC236}">
                <a16:creationId xmlns:a16="http://schemas.microsoft.com/office/drawing/2014/main" id="{1992C94F-5BBA-4330-E18A-AE43916025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03911" y="514350"/>
            <a:ext cx="6677027" cy="5286599"/>
          </a:xfrm>
          <a:prstGeom prst="rect">
            <a:avLst/>
          </a:prstGeom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id="{070F0BD1-C1A6-340E-C878-18E1D665A1C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2657"/>
          <a:stretch/>
        </p:blipFill>
        <p:spPr>
          <a:xfrm>
            <a:off x="5203913" y="514350"/>
            <a:ext cx="6677026" cy="5400675"/>
          </a:xfrm>
          <a:prstGeom prst="rect">
            <a:avLst/>
          </a:prstGeom>
        </p:spPr>
      </p:pic>
      <p:sp>
        <p:nvSpPr>
          <p:cNvPr id="2" name="Segnaposto testo verticale 4">
            <a:extLst>
              <a:ext uri="{FF2B5EF4-FFF2-40B4-BE49-F238E27FC236}">
                <a16:creationId xmlns:a16="http://schemas.microsoft.com/office/drawing/2014/main" id="{40825CB5-4D9B-738E-6212-0156CE294BFF}"/>
              </a:ext>
            </a:extLst>
          </p:cNvPr>
          <p:cNvSpPr txBox="1">
            <a:spLocks/>
          </p:cNvSpPr>
          <p:nvPr/>
        </p:nvSpPr>
        <p:spPr>
          <a:xfrm>
            <a:off x="510512" y="642337"/>
            <a:ext cx="10653443" cy="3845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  <a:defRPr sz="3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17483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0070C0"/>
              </a:buClr>
              <a:buSzPct val="85000"/>
              <a:buFont typeface="Arial" panose="020B0604020202020204" pitchFamily="34" charset="0"/>
              <a:buNone/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 cap="none" spc="31" baseline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271456" indent="-271456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+mj-lt"/>
              <a:buAutoNum type="arabicPeriod"/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7483" indent="-217483" algn="l" defTabSz="914377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71476" indent="-253994" algn="l" defTabSz="914377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71912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065BAA"/>
              </a:buClr>
              <a:buSzPct val="110000"/>
              <a:buFont typeface="Segoe UI Light" panose="020B0502040204020203" pitchFamily="34" charset="0"/>
              <a:buNone/>
              <a:tabLst/>
              <a:defRPr/>
            </a:pPr>
            <a:r>
              <a:rPr kumimoji="0" lang="it-IT" sz="3000" b="0" i="0" u="none" strike="noStrike" kern="1200" cap="none" spc="0" normalizeH="0" baseline="0" noProof="0" dirty="0">
                <a:ln>
                  <a:noFill/>
                </a:ln>
                <a:solidFill>
                  <a:srgbClr val="065BAA"/>
                </a:solidFill>
                <a:effectLst/>
                <a:uLnTx/>
                <a:uFillTx/>
                <a:latin typeface="Source Sans Pro" panose="020B0503030403020204" pitchFamily="34" charset="0"/>
              </a:rPr>
              <a:t>Report in Power BI</a:t>
            </a:r>
          </a:p>
        </p:txBody>
      </p:sp>
      <p:sp>
        <p:nvSpPr>
          <p:cNvPr id="3" name="Titolo 1">
            <a:extLst>
              <a:ext uri="{FF2B5EF4-FFF2-40B4-BE49-F238E27FC236}">
                <a16:creationId xmlns:a16="http://schemas.microsoft.com/office/drawing/2014/main" id="{6C18FD20-F840-C9AF-1969-6269235008B7}"/>
              </a:ext>
            </a:extLst>
          </p:cNvPr>
          <p:cNvSpPr txBox="1">
            <a:spLocks/>
          </p:cNvSpPr>
          <p:nvPr/>
        </p:nvSpPr>
        <p:spPr>
          <a:xfrm>
            <a:off x="510512" y="255090"/>
            <a:ext cx="10653443" cy="38724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000" b="1" i="0" u="none" strike="noStrike" kern="1200" cap="none" spc="0" normalizeH="0" baseline="0" noProof="0" dirty="0">
                <a:ln>
                  <a:noFill/>
                </a:ln>
                <a:solidFill>
                  <a:srgbClr val="065BAA"/>
                </a:solidFill>
                <a:effectLst/>
                <a:uLnTx/>
                <a:uFillTx/>
                <a:latin typeface="Source Sans Pro" panose="020B0503030403020204" pitchFamily="34" charset="0"/>
              </a:rPr>
              <a:t>CRM</a:t>
            </a:r>
          </a:p>
        </p:txBody>
      </p:sp>
      <p:grpSp>
        <p:nvGrpSpPr>
          <p:cNvPr id="98" name="Gruppo 97">
            <a:extLst>
              <a:ext uri="{FF2B5EF4-FFF2-40B4-BE49-F238E27FC236}">
                <a16:creationId xmlns:a16="http://schemas.microsoft.com/office/drawing/2014/main" id="{2FAECF63-4F52-A7F0-9FCE-F553845855C0}"/>
              </a:ext>
            </a:extLst>
          </p:cNvPr>
          <p:cNvGrpSpPr/>
          <p:nvPr/>
        </p:nvGrpSpPr>
        <p:grpSpPr>
          <a:xfrm>
            <a:off x="466967" y="1435919"/>
            <a:ext cx="4366290" cy="4314825"/>
            <a:chOff x="466967" y="1435919"/>
            <a:chExt cx="4366290" cy="4314825"/>
          </a:xfrm>
        </p:grpSpPr>
        <p:sp>
          <p:nvSpPr>
            <p:cNvPr id="80" name="Text Placeholder 4">
              <a:extLst>
                <a:ext uri="{FF2B5EF4-FFF2-40B4-BE49-F238E27FC236}">
                  <a16:creationId xmlns:a16="http://schemas.microsoft.com/office/drawing/2014/main" id="{5A710BC3-77D4-6E90-ABB0-BBFED9652D8D}"/>
                </a:ext>
              </a:extLst>
            </p:cNvPr>
            <p:cNvSpPr txBox="1">
              <a:spLocks/>
            </p:cNvSpPr>
            <p:nvPr/>
          </p:nvSpPr>
          <p:spPr>
            <a:xfrm>
              <a:off x="499127" y="1435919"/>
              <a:ext cx="4334130" cy="4314825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217488" indent="-217488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10000"/>
                <a:buFont typeface="Segoe UI Light" panose="020B0502040204020203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1488" indent="-254000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  <a:defRPr sz="160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070C0"/>
                </a:buClr>
                <a:buSzPct val="85000"/>
                <a:buFont typeface="Arial" panose="020B0604020202020204" pitchFamily="34" charset="0"/>
                <a:buNone/>
                <a:defRPr sz="160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600" b="1" kern="1200" cap="none" spc="30" baseline="0">
                  <a:solidFill>
                    <a:schemeClr val="tx1"/>
                  </a:solidFill>
                  <a:latin typeface="+mj-lt"/>
                  <a:ea typeface="+mn-ea"/>
                  <a:cs typeface="Calibri" panose="020F0502020204030204" pitchFamily="34" charset="0"/>
                </a:defRPr>
              </a:lvl4pPr>
              <a:lvl5pPr marL="271463" indent="-271463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Font typeface="+mj-lt"/>
                <a:buAutoNum type="arabicPeriod"/>
                <a:defRPr sz="160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7488" indent="-2174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10000"/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71488" indent="-2540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b="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9pPr>
            </a:lstStyle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r>
                <a:rPr kumimoji="0" lang="it-IT" b="0" i="0" u="none" strike="noStrike" kern="120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ource Sans Pro" panose="020B0503030403020204" pitchFamily="34" charset="0"/>
                  <a:cs typeface="Calibri" panose="020F0502020204030204" pitchFamily="34" charset="0"/>
                </a:rPr>
                <a:t>I report disponibili sono evidenziati dall’icona blu (1) . </a:t>
              </a:r>
            </a:p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r>
                <a:rPr kumimoji="0" lang="it-IT" b="0" i="0" u="none" strike="noStrike" kern="120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ource Sans Pro" panose="020B0503030403020204" pitchFamily="34" charset="0"/>
                  <a:cs typeface="Calibri" panose="020F0502020204030204" pitchFamily="34" charset="0"/>
                </a:rPr>
                <a:t>Ad oggi sono disponibili principalmente un report che evidenzia le attività degli installatori </a:t>
              </a:r>
              <a:r>
                <a:rPr kumimoji="0" lang="it-IT" b="1" i="0" u="none" strike="noStrike" kern="120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ource Sans Pro" panose="020B0503030403020204" pitchFamily="34" charset="0"/>
                  <a:cs typeface="Calibri" panose="020F0502020204030204" pitchFamily="34" charset="0"/>
                </a:rPr>
                <a:t>LunaTeam</a:t>
              </a:r>
              <a:r>
                <a:rPr kumimoji="0" lang="it-IT" b="0" i="0" u="none" strike="noStrike" kern="120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ource Sans Pro" panose="020B0503030403020204" pitchFamily="34" charset="0"/>
                  <a:cs typeface="Calibri" panose="020F0502020204030204" pitchFamily="34" charset="0"/>
                </a:rPr>
                <a:t> nelle varie aree e un report che evidenzia i progettisti </a:t>
              </a:r>
              <a:r>
                <a:rPr kumimoji="0" lang="it-IT" b="1" i="0" u="none" strike="noStrike" kern="120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ource Sans Pro" panose="020B0503030403020204" pitchFamily="34" charset="0"/>
                  <a:cs typeface="Calibri" panose="020F0502020204030204" pitchFamily="34" charset="0"/>
                </a:rPr>
                <a:t>We.Join</a:t>
              </a:r>
              <a:r>
                <a:rPr kumimoji="0" lang="it-IT" b="0" i="0" u="none" strike="noStrike" kern="120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ource Sans Pro" panose="020B0503030403020204" pitchFamily="34" charset="0"/>
                  <a:cs typeface="Calibri" panose="020F0502020204030204" pitchFamily="34" charset="0"/>
                </a:rPr>
                <a:t>, e non, presenti a sistema. </a:t>
              </a:r>
            </a:p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endParaRPr lang="it-IT" dirty="0">
                <a:solidFill>
                  <a:sysClr val="windowText" lastClr="000000"/>
                </a:solidFill>
                <a:latin typeface="Source Sans Pro" panose="020B0503030403020204" pitchFamily="34" charset="0"/>
                <a:cs typeface="Calibri" panose="020F0502020204030204" pitchFamily="34" charset="0"/>
              </a:endParaRPr>
            </a:p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endParaRPr kumimoji="0" lang="it-IT" b="0" i="0" u="none" strike="noStrike" kern="120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ource Sans Pro" panose="020B0503030403020204" pitchFamily="34" charset="0"/>
                <a:cs typeface="Calibri" panose="020F0502020204030204" pitchFamily="34" charset="0"/>
              </a:endParaRPr>
            </a:p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endParaRPr kumimoji="0" lang="it-IT" b="0" i="0" u="none" strike="noStrike" kern="120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ource Sans Pro" panose="020B050303040302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3" name="Oval 17">
              <a:extLst>
                <a:ext uri="{FF2B5EF4-FFF2-40B4-BE49-F238E27FC236}">
                  <a16:creationId xmlns:a16="http://schemas.microsoft.com/office/drawing/2014/main" id="{D434C744-CFCB-B8D0-B8CF-F41AA8D85A88}"/>
                </a:ext>
              </a:extLst>
            </p:cNvPr>
            <p:cNvSpPr/>
            <p:nvPr/>
          </p:nvSpPr>
          <p:spPr>
            <a:xfrm>
              <a:off x="466967" y="1665787"/>
              <a:ext cx="274449" cy="274449"/>
            </a:xfrm>
            <a:prstGeom prst="ellipse">
              <a:avLst/>
            </a:prstGeom>
            <a:solidFill>
              <a:srgbClr val="008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/>
                  <a:ea typeface="+mn-ea"/>
                  <a:cs typeface="+mn-cs"/>
                </a:rPr>
                <a:t>1</a:t>
              </a:r>
            </a:p>
          </p:txBody>
        </p:sp>
      </p:grpSp>
      <p:sp>
        <p:nvSpPr>
          <p:cNvPr id="4" name="Rectangle 6">
            <a:extLst>
              <a:ext uri="{FF2B5EF4-FFF2-40B4-BE49-F238E27FC236}">
                <a16:creationId xmlns:a16="http://schemas.microsoft.com/office/drawing/2014/main" id="{4C864666-19B2-7E6C-E76C-D911C0A760A0}"/>
              </a:ext>
            </a:extLst>
          </p:cNvPr>
          <p:cNvSpPr/>
          <p:nvPr/>
        </p:nvSpPr>
        <p:spPr>
          <a:xfrm>
            <a:off x="5660573" y="3065687"/>
            <a:ext cx="354811" cy="296090"/>
          </a:xfrm>
          <a:prstGeom prst="rect">
            <a:avLst/>
          </a:prstGeom>
          <a:noFill/>
          <a:ln w="28575" cap="flat" cmpd="sng" algn="ctr">
            <a:solidFill>
              <a:srgbClr val="339933">
                <a:alpha val="47843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6" name="Oval 17">
            <a:extLst>
              <a:ext uri="{FF2B5EF4-FFF2-40B4-BE49-F238E27FC236}">
                <a16:creationId xmlns:a16="http://schemas.microsoft.com/office/drawing/2014/main" id="{D8778729-D680-BA0F-C00F-A9E6C6301D6E}"/>
              </a:ext>
            </a:extLst>
          </p:cNvPr>
          <p:cNvSpPr/>
          <p:nvPr/>
        </p:nvSpPr>
        <p:spPr>
          <a:xfrm>
            <a:off x="5456467" y="2996281"/>
            <a:ext cx="271529" cy="274449"/>
          </a:xfrm>
          <a:prstGeom prst="ellipse">
            <a:avLst/>
          </a:prstGeom>
          <a:solidFill>
            <a:srgbClr val="008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602292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sellaDiTesto 1">
            <a:extLst>
              <a:ext uri="{FF2B5EF4-FFF2-40B4-BE49-F238E27FC236}">
                <a16:creationId xmlns:a16="http://schemas.microsoft.com/office/drawing/2014/main" id="{7DD1B4BF-3020-0C3D-1F75-B4A76BB8AD7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8685" y="3687355"/>
            <a:ext cx="9793816" cy="1241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it-IT" altLang="it-IT" sz="3733" b="1" dirty="0">
                <a:solidFill>
                  <a:srgbClr val="FFFFFF"/>
                </a:solidFill>
                <a:latin typeface="Trebuchet MS" panose="020B0603020202020204" pitchFamily="34" charset="0"/>
              </a:rPr>
              <a:t>Approfondimento:</a:t>
            </a:r>
          </a:p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it-IT" altLang="it-IT" sz="3733" b="1" dirty="0">
                <a:solidFill>
                  <a:srgbClr val="FFFFFF"/>
                </a:solidFill>
                <a:latin typeface="Trebuchet MS" panose="020B0603020202020204" pitchFamily="34" charset="0"/>
              </a:rPr>
              <a:t>Creare un grafico da una vista CRM</a:t>
            </a:r>
          </a:p>
        </p:txBody>
      </p:sp>
    </p:spTree>
    <p:extLst>
      <p:ext uri="{BB962C8B-B14F-4D97-AF65-F5344CB8AC3E}">
        <p14:creationId xmlns:p14="http://schemas.microsoft.com/office/powerpoint/2010/main" val="3339352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0A23F15D-7848-EBD2-6759-07088A0EBB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83402" y="501413"/>
            <a:ext cx="6686382" cy="5249331"/>
          </a:xfrm>
          <a:prstGeom prst="rect">
            <a:avLst/>
          </a:prstGeom>
        </p:spPr>
      </p:pic>
      <p:sp>
        <p:nvSpPr>
          <p:cNvPr id="2" name="Segnaposto testo verticale 4">
            <a:extLst>
              <a:ext uri="{FF2B5EF4-FFF2-40B4-BE49-F238E27FC236}">
                <a16:creationId xmlns:a16="http://schemas.microsoft.com/office/drawing/2014/main" id="{40825CB5-4D9B-738E-6212-0156CE294BFF}"/>
              </a:ext>
            </a:extLst>
          </p:cNvPr>
          <p:cNvSpPr txBox="1">
            <a:spLocks/>
          </p:cNvSpPr>
          <p:nvPr/>
        </p:nvSpPr>
        <p:spPr>
          <a:xfrm>
            <a:off x="510512" y="642337"/>
            <a:ext cx="10653443" cy="3845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  <a:defRPr sz="3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17483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0070C0"/>
              </a:buClr>
              <a:buSzPct val="85000"/>
              <a:buFont typeface="Arial" panose="020B0604020202020204" pitchFamily="34" charset="0"/>
              <a:buNone/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 cap="none" spc="31" baseline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271456" indent="-271456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+mj-lt"/>
              <a:buAutoNum type="arabicPeriod"/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7483" indent="-217483" algn="l" defTabSz="914377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71476" indent="-253994" algn="l" defTabSz="914377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71912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065BAA"/>
              </a:buClr>
              <a:buSzPct val="110000"/>
              <a:buFont typeface="Segoe UI Light" panose="020B0502040204020203" pitchFamily="34" charset="0"/>
              <a:buNone/>
              <a:tabLst/>
              <a:defRPr/>
            </a:pPr>
            <a:r>
              <a:rPr lang="it-IT" dirty="0">
                <a:solidFill>
                  <a:srgbClr val="065BAA"/>
                </a:solidFill>
                <a:latin typeface="Source Sans Pro" panose="020B0503030403020204" pitchFamily="34" charset="0"/>
              </a:rPr>
              <a:t>Grafico di una vista CRM</a:t>
            </a:r>
            <a:endParaRPr kumimoji="0" lang="it-IT" sz="3000" b="0" i="0" u="none" strike="noStrike" kern="1200" cap="none" spc="0" normalizeH="0" baseline="0" noProof="0" dirty="0">
              <a:ln>
                <a:noFill/>
              </a:ln>
              <a:solidFill>
                <a:srgbClr val="065BAA"/>
              </a:solidFill>
              <a:effectLst/>
              <a:uLnTx/>
              <a:uFillTx/>
              <a:latin typeface="Source Sans Pro" panose="020B0503030403020204" pitchFamily="34" charset="0"/>
            </a:endParaRPr>
          </a:p>
        </p:txBody>
      </p:sp>
      <p:sp>
        <p:nvSpPr>
          <p:cNvPr id="3" name="Titolo 1">
            <a:extLst>
              <a:ext uri="{FF2B5EF4-FFF2-40B4-BE49-F238E27FC236}">
                <a16:creationId xmlns:a16="http://schemas.microsoft.com/office/drawing/2014/main" id="{6C18FD20-F840-C9AF-1969-6269235008B7}"/>
              </a:ext>
            </a:extLst>
          </p:cNvPr>
          <p:cNvSpPr txBox="1">
            <a:spLocks/>
          </p:cNvSpPr>
          <p:nvPr/>
        </p:nvSpPr>
        <p:spPr>
          <a:xfrm>
            <a:off x="510512" y="255090"/>
            <a:ext cx="10653443" cy="38724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000" b="1" i="0" u="none" strike="noStrike" kern="1200" cap="none" spc="0" normalizeH="0" baseline="0" noProof="0" dirty="0">
                <a:ln>
                  <a:noFill/>
                </a:ln>
                <a:solidFill>
                  <a:srgbClr val="065BAA"/>
                </a:solidFill>
                <a:effectLst/>
                <a:uLnTx/>
                <a:uFillTx/>
                <a:latin typeface="Source Sans Pro" panose="020B0503030403020204" pitchFamily="34" charset="0"/>
              </a:rPr>
              <a:t>CRM</a:t>
            </a:r>
          </a:p>
        </p:txBody>
      </p:sp>
      <p:sp>
        <p:nvSpPr>
          <p:cNvPr id="14" name="Rectangle 19">
            <a:extLst>
              <a:ext uri="{FF2B5EF4-FFF2-40B4-BE49-F238E27FC236}">
                <a16:creationId xmlns:a16="http://schemas.microsoft.com/office/drawing/2014/main" id="{E24048DD-B9F3-ACC1-D41C-260C0C865D6E}"/>
              </a:ext>
            </a:extLst>
          </p:cNvPr>
          <p:cNvSpPr/>
          <p:nvPr/>
        </p:nvSpPr>
        <p:spPr>
          <a:xfrm>
            <a:off x="6526216" y="749364"/>
            <a:ext cx="806401" cy="321346"/>
          </a:xfrm>
          <a:prstGeom prst="rect">
            <a:avLst/>
          </a:prstGeom>
          <a:noFill/>
          <a:ln w="28575" cap="flat" cmpd="sng" algn="ctr">
            <a:solidFill>
              <a:srgbClr val="339933">
                <a:alpha val="47843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5" name="Oval 20">
            <a:extLst>
              <a:ext uri="{FF2B5EF4-FFF2-40B4-BE49-F238E27FC236}">
                <a16:creationId xmlns:a16="http://schemas.microsoft.com/office/drawing/2014/main" id="{1E15438D-1645-621A-8407-7DB369CB9FE5}"/>
              </a:ext>
            </a:extLst>
          </p:cNvPr>
          <p:cNvSpPr/>
          <p:nvPr/>
        </p:nvSpPr>
        <p:spPr>
          <a:xfrm>
            <a:off x="6418217" y="802037"/>
            <a:ext cx="216000" cy="216000"/>
          </a:xfrm>
          <a:prstGeom prst="ellipse">
            <a:avLst/>
          </a:prstGeom>
          <a:solidFill>
            <a:srgbClr val="008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kern="0" dirty="0">
                <a:solidFill>
                  <a:prstClr val="white"/>
                </a:solidFill>
                <a:latin typeface="Source Sans Pro"/>
              </a:rPr>
              <a:t>1</a:t>
            </a:r>
            <a:endParaRPr kumimoji="0" lang="nl-NL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grpSp>
        <p:nvGrpSpPr>
          <p:cNvPr id="16" name="Gruppo 15">
            <a:extLst>
              <a:ext uri="{FF2B5EF4-FFF2-40B4-BE49-F238E27FC236}">
                <a16:creationId xmlns:a16="http://schemas.microsoft.com/office/drawing/2014/main" id="{1AB0669D-697E-E6C9-2661-18DED90A9CF5}"/>
              </a:ext>
            </a:extLst>
          </p:cNvPr>
          <p:cNvGrpSpPr/>
          <p:nvPr/>
        </p:nvGrpSpPr>
        <p:grpSpPr>
          <a:xfrm>
            <a:off x="499127" y="1435919"/>
            <a:ext cx="4334130" cy="4314825"/>
            <a:chOff x="499127" y="1435919"/>
            <a:chExt cx="4334130" cy="4314825"/>
          </a:xfrm>
        </p:grpSpPr>
        <p:sp>
          <p:nvSpPr>
            <p:cNvPr id="17" name="Text Placeholder 4">
              <a:extLst>
                <a:ext uri="{FF2B5EF4-FFF2-40B4-BE49-F238E27FC236}">
                  <a16:creationId xmlns:a16="http://schemas.microsoft.com/office/drawing/2014/main" id="{A14DA3D8-9B88-7798-70DA-087C73692D8C}"/>
                </a:ext>
              </a:extLst>
            </p:cNvPr>
            <p:cNvSpPr txBox="1">
              <a:spLocks/>
            </p:cNvSpPr>
            <p:nvPr/>
          </p:nvSpPr>
          <p:spPr>
            <a:xfrm>
              <a:off x="499127" y="1435919"/>
              <a:ext cx="4334130" cy="4314825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217488" indent="-217488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10000"/>
                <a:buFont typeface="Segoe UI Light" panose="020B0502040204020203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1488" indent="-254000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  <a:defRPr sz="160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070C0"/>
                </a:buClr>
                <a:buSzPct val="85000"/>
                <a:buFont typeface="Arial" panose="020B0604020202020204" pitchFamily="34" charset="0"/>
                <a:buNone/>
                <a:defRPr sz="160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600" b="1" kern="1200" cap="none" spc="30" baseline="0">
                  <a:solidFill>
                    <a:schemeClr val="tx1"/>
                  </a:solidFill>
                  <a:latin typeface="+mj-lt"/>
                  <a:ea typeface="+mn-ea"/>
                  <a:cs typeface="Calibri" panose="020F0502020204030204" pitchFamily="34" charset="0"/>
                </a:defRPr>
              </a:lvl4pPr>
              <a:lvl5pPr marL="271463" indent="-271463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Font typeface="+mj-lt"/>
                <a:buAutoNum type="arabicPeriod"/>
                <a:defRPr sz="160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7488" indent="-2174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10000"/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71488" indent="-2540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b="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9pPr>
            </a:lstStyle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r>
                <a:rPr kumimoji="0" lang="it-IT" b="0" i="0" u="sng" strike="noStrike" kern="120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ource Sans Pro" panose="020B0503030403020204" pitchFamily="34" charset="0"/>
                  <a:cs typeface="Calibri" panose="020F0502020204030204" pitchFamily="34" charset="0"/>
                </a:rPr>
                <a:t>È possibile creare grafici basici di riepilogo delle viste CRM, da poter inserire all’interno delle dashboards</a:t>
              </a:r>
              <a:r>
                <a:rPr kumimoji="0" lang="it-IT" b="0" i="0" u="none" strike="noStrike" kern="120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ource Sans Pro" panose="020B0503030403020204" pitchFamily="34" charset="0"/>
                  <a:cs typeface="Calibri" panose="020F0502020204030204" pitchFamily="34" charset="0"/>
                </a:rPr>
                <a:t>.</a:t>
              </a:r>
            </a:p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r>
                <a:rPr kumimoji="0" lang="it-IT" b="0" i="0" u="none" strike="noStrike" kern="120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ource Sans Pro" panose="020B0503030403020204" pitchFamily="34" charset="0"/>
                  <a:cs typeface="Calibri" panose="020F0502020204030204" pitchFamily="34" charset="0"/>
                </a:rPr>
                <a:t>Per creare un grafico, posizionarsi sulla vista di riferimento e selezionare </a:t>
              </a:r>
              <a:r>
                <a:rPr kumimoji="0" lang="it-IT" b="1" i="0" u="none" strike="noStrike" kern="120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ource Sans Pro" panose="020B0503030403020204" pitchFamily="34" charset="0"/>
                  <a:cs typeface="Calibri" panose="020F0502020204030204" pitchFamily="34" charset="0"/>
                </a:rPr>
                <a:t>«Mostra grafico» (</a:t>
              </a:r>
              <a:r>
                <a:rPr kumimoji="0" lang="it-IT" b="0" i="0" u="none" strike="noStrike" kern="120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ource Sans Pro" panose="020B0503030403020204" pitchFamily="34" charset="0"/>
                  <a:cs typeface="Calibri" panose="020F0502020204030204" pitchFamily="34" charset="0"/>
                </a:rPr>
                <a:t>1) . </a:t>
              </a:r>
              <a:endParaRPr lang="it-IT" dirty="0">
                <a:solidFill>
                  <a:sysClr val="windowText" lastClr="000000"/>
                </a:solidFill>
                <a:latin typeface="Source Sans Pro" panose="020B0503030403020204" pitchFamily="34" charset="0"/>
                <a:cs typeface="Calibri" panose="020F0502020204030204" pitchFamily="34" charset="0"/>
              </a:endParaRPr>
            </a:p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endParaRPr lang="it-IT" dirty="0">
                <a:solidFill>
                  <a:sysClr val="windowText" lastClr="000000"/>
                </a:solidFill>
                <a:latin typeface="Source Sans Pro" panose="020B0503030403020204" pitchFamily="34" charset="0"/>
                <a:cs typeface="Calibri" panose="020F0502020204030204" pitchFamily="34" charset="0"/>
              </a:endParaRPr>
            </a:p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endParaRPr kumimoji="0" lang="it-IT" b="0" i="0" u="none" strike="noStrike" kern="120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ource Sans Pro" panose="020B0503030403020204" pitchFamily="34" charset="0"/>
                <a:cs typeface="Calibri" panose="020F0502020204030204" pitchFamily="34" charset="0"/>
              </a:endParaRPr>
            </a:p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endParaRPr kumimoji="0" lang="it-IT" b="0" i="0" u="none" strike="noStrike" kern="120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ource Sans Pro" panose="020B050303040302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" name="Oval 17">
              <a:extLst>
                <a:ext uri="{FF2B5EF4-FFF2-40B4-BE49-F238E27FC236}">
                  <a16:creationId xmlns:a16="http://schemas.microsoft.com/office/drawing/2014/main" id="{CAF4F50A-2C22-61E5-43FA-CDB24A61D2F6}"/>
                </a:ext>
              </a:extLst>
            </p:cNvPr>
            <p:cNvSpPr/>
            <p:nvPr/>
          </p:nvSpPr>
          <p:spPr>
            <a:xfrm>
              <a:off x="4158323" y="2504605"/>
              <a:ext cx="274449" cy="274449"/>
            </a:xfrm>
            <a:prstGeom prst="ellipse">
              <a:avLst/>
            </a:prstGeom>
            <a:solidFill>
              <a:srgbClr val="008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/>
                  <a:ea typeface="+mn-ea"/>
                  <a:cs typeface="+mn-cs"/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0197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magine 10">
            <a:extLst>
              <a:ext uri="{FF2B5EF4-FFF2-40B4-BE49-F238E27FC236}">
                <a16:creationId xmlns:a16="http://schemas.microsoft.com/office/drawing/2014/main" id="{D5D5890F-9715-13ED-276E-C9EF448BE6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81380" y="501413"/>
            <a:ext cx="6688403" cy="5607223"/>
          </a:xfrm>
          <a:prstGeom prst="rect">
            <a:avLst/>
          </a:prstGeom>
        </p:spPr>
      </p:pic>
      <p:sp>
        <p:nvSpPr>
          <p:cNvPr id="2" name="Segnaposto testo verticale 4">
            <a:extLst>
              <a:ext uri="{FF2B5EF4-FFF2-40B4-BE49-F238E27FC236}">
                <a16:creationId xmlns:a16="http://schemas.microsoft.com/office/drawing/2014/main" id="{40825CB5-4D9B-738E-6212-0156CE294BFF}"/>
              </a:ext>
            </a:extLst>
          </p:cNvPr>
          <p:cNvSpPr txBox="1">
            <a:spLocks/>
          </p:cNvSpPr>
          <p:nvPr/>
        </p:nvSpPr>
        <p:spPr>
          <a:xfrm>
            <a:off x="510512" y="642337"/>
            <a:ext cx="10653443" cy="3845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  <a:defRPr sz="3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17483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0070C0"/>
              </a:buClr>
              <a:buSzPct val="85000"/>
              <a:buFont typeface="Arial" panose="020B0604020202020204" pitchFamily="34" charset="0"/>
              <a:buNone/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 cap="none" spc="31" baseline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271456" indent="-271456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+mj-lt"/>
              <a:buAutoNum type="arabicPeriod"/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7483" indent="-217483" algn="l" defTabSz="914377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71476" indent="-253994" algn="l" defTabSz="914377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71912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065BAA"/>
              </a:buClr>
              <a:buSzPct val="110000"/>
              <a:buFont typeface="Segoe UI Light" panose="020B0502040204020203" pitchFamily="34" charset="0"/>
              <a:buNone/>
              <a:tabLst/>
              <a:defRPr/>
            </a:pPr>
            <a:r>
              <a:rPr lang="it-IT" dirty="0">
                <a:solidFill>
                  <a:srgbClr val="065BAA"/>
                </a:solidFill>
                <a:latin typeface="Source Sans Pro" panose="020B0503030403020204" pitchFamily="34" charset="0"/>
              </a:rPr>
              <a:t>Grafico di una vista CRM</a:t>
            </a:r>
            <a:endParaRPr kumimoji="0" lang="it-IT" sz="3000" b="0" i="0" u="none" strike="noStrike" kern="1200" cap="none" spc="0" normalizeH="0" baseline="0" noProof="0" dirty="0">
              <a:ln>
                <a:noFill/>
              </a:ln>
              <a:solidFill>
                <a:srgbClr val="065BAA"/>
              </a:solidFill>
              <a:effectLst/>
              <a:uLnTx/>
              <a:uFillTx/>
              <a:latin typeface="Source Sans Pro" panose="020B0503030403020204" pitchFamily="34" charset="0"/>
            </a:endParaRPr>
          </a:p>
        </p:txBody>
      </p:sp>
      <p:sp>
        <p:nvSpPr>
          <p:cNvPr id="3" name="Titolo 1">
            <a:extLst>
              <a:ext uri="{FF2B5EF4-FFF2-40B4-BE49-F238E27FC236}">
                <a16:creationId xmlns:a16="http://schemas.microsoft.com/office/drawing/2014/main" id="{6C18FD20-F840-C9AF-1969-6269235008B7}"/>
              </a:ext>
            </a:extLst>
          </p:cNvPr>
          <p:cNvSpPr txBox="1">
            <a:spLocks/>
          </p:cNvSpPr>
          <p:nvPr/>
        </p:nvSpPr>
        <p:spPr>
          <a:xfrm>
            <a:off x="510512" y="255090"/>
            <a:ext cx="10653443" cy="38724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000" b="1" i="0" u="none" strike="noStrike" kern="1200" cap="none" spc="0" normalizeH="0" baseline="0" noProof="0" dirty="0">
                <a:ln>
                  <a:noFill/>
                </a:ln>
                <a:solidFill>
                  <a:srgbClr val="065BAA"/>
                </a:solidFill>
                <a:effectLst/>
                <a:uLnTx/>
                <a:uFillTx/>
                <a:latin typeface="Source Sans Pro" panose="020B0503030403020204" pitchFamily="34" charset="0"/>
              </a:rPr>
              <a:t>CRM</a:t>
            </a:r>
          </a:p>
        </p:txBody>
      </p:sp>
      <p:sp>
        <p:nvSpPr>
          <p:cNvPr id="14" name="Rectangle 19">
            <a:extLst>
              <a:ext uri="{FF2B5EF4-FFF2-40B4-BE49-F238E27FC236}">
                <a16:creationId xmlns:a16="http://schemas.microsoft.com/office/drawing/2014/main" id="{E24048DD-B9F3-ACC1-D41C-260C0C865D6E}"/>
              </a:ext>
            </a:extLst>
          </p:cNvPr>
          <p:cNvSpPr/>
          <p:nvPr/>
        </p:nvSpPr>
        <p:spPr>
          <a:xfrm>
            <a:off x="6360754" y="1739324"/>
            <a:ext cx="1903680" cy="4369312"/>
          </a:xfrm>
          <a:prstGeom prst="rect">
            <a:avLst/>
          </a:prstGeom>
          <a:noFill/>
          <a:ln w="28575" cap="flat" cmpd="sng" algn="ctr">
            <a:solidFill>
              <a:srgbClr val="339933">
                <a:alpha val="47843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5" name="Oval 20">
            <a:extLst>
              <a:ext uri="{FF2B5EF4-FFF2-40B4-BE49-F238E27FC236}">
                <a16:creationId xmlns:a16="http://schemas.microsoft.com/office/drawing/2014/main" id="{1E15438D-1645-621A-8407-7DB369CB9FE5}"/>
              </a:ext>
            </a:extLst>
          </p:cNvPr>
          <p:cNvSpPr/>
          <p:nvPr/>
        </p:nvSpPr>
        <p:spPr>
          <a:xfrm>
            <a:off x="6144754" y="1551319"/>
            <a:ext cx="216000" cy="216000"/>
          </a:xfrm>
          <a:prstGeom prst="ellipse">
            <a:avLst/>
          </a:prstGeom>
          <a:solidFill>
            <a:srgbClr val="008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kern="0" dirty="0">
                <a:solidFill>
                  <a:prstClr val="white"/>
                </a:solidFill>
                <a:latin typeface="Source Sans Pro"/>
              </a:rPr>
              <a:t>1</a:t>
            </a:r>
            <a:endParaRPr kumimoji="0" lang="nl-NL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grpSp>
        <p:nvGrpSpPr>
          <p:cNvPr id="16" name="Gruppo 15">
            <a:extLst>
              <a:ext uri="{FF2B5EF4-FFF2-40B4-BE49-F238E27FC236}">
                <a16:creationId xmlns:a16="http://schemas.microsoft.com/office/drawing/2014/main" id="{1AB0669D-697E-E6C9-2661-18DED90A9CF5}"/>
              </a:ext>
            </a:extLst>
          </p:cNvPr>
          <p:cNvGrpSpPr/>
          <p:nvPr/>
        </p:nvGrpSpPr>
        <p:grpSpPr>
          <a:xfrm>
            <a:off x="499127" y="1414095"/>
            <a:ext cx="4334130" cy="4336649"/>
            <a:chOff x="499127" y="1414095"/>
            <a:chExt cx="4334130" cy="4336649"/>
          </a:xfrm>
        </p:grpSpPr>
        <p:sp>
          <p:nvSpPr>
            <p:cNvPr id="17" name="Text Placeholder 4">
              <a:extLst>
                <a:ext uri="{FF2B5EF4-FFF2-40B4-BE49-F238E27FC236}">
                  <a16:creationId xmlns:a16="http://schemas.microsoft.com/office/drawing/2014/main" id="{A14DA3D8-9B88-7798-70DA-087C73692D8C}"/>
                </a:ext>
              </a:extLst>
            </p:cNvPr>
            <p:cNvSpPr txBox="1">
              <a:spLocks/>
            </p:cNvSpPr>
            <p:nvPr/>
          </p:nvSpPr>
          <p:spPr>
            <a:xfrm>
              <a:off x="499127" y="1435919"/>
              <a:ext cx="4334130" cy="4314825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217488" indent="-217488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10000"/>
                <a:buFont typeface="Segoe UI Light" panose="020B0502040204020203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1488" indent="-254000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  <a:defRPr sz="160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070C0"/>
                </a:buClr>
                <a:buSzPct val="85000"/>
                <a:buFont typeface="Arial" panose="020B0604020202020204" pitchFamily="34" charset="0"/>
                <a:buNone/>
                <a:defRPr sz="160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600" b="1" kern="1200" cap="none" spc="30" baseline="0">
                  <a:solidFill>
                    <a:schemeClr val="tx1"/>
                  </a:solidFill>
                  <a:latin typeface="+mj-lt"/>
                  <a:ea typeface="+mn-ea"/>
                  <a:cs typeface="Calibri" panose="020F0502020204030204" pitchFamily="34" charset="0"/>
                </a:defRPr>
              </a:lvl4pPr>
              <a:lvl5pPr marL="271463" indent="-271463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Font typeface="+mj-lt"/>
                <a:buAutoNum type="arabicPeriod"/>
                <a:defRPr sz="160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7488" indent="-2174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10000"/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71488" indent="-2540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b="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9pPr>
            </a:lstStyle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r>
                <a:rPr lang="it-IT" dirty="0">
                  <a:solidFill>
                    <a:sysClr val="windowText" lastClr="000000"/>
                  </a:solidFill>
                  <a:latin typeface="Source Sans Pro" panose="020B0503030403020204" pitchFamily="34" charset="0"/>
                  <a:cs typeface="Calibri" panose="020F0502020204030204" pitchFamily="34" charset="0"/>
                </a:rPr>
                <a:t>Comparirà una finestra (1) dove sono visualizzati dei grafici predefiniti selezionabili tramite la tendina (2) . </a:t>
              </a:r>
            </a:p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r>
                <a:rPr lang="it-IT" dirty="0">
                  <a:solidFill>
                    <a:sysClr val="windowText" lastClr="000000"/>
                  </a:solidFill>
                  <a:latin typeface="Source Sans Pro" panose="020B0503030403020204" pitchFamily="34" charset="0"/>
                  <a:cs typeface="Calibri" panose="020F0502020204030204" pitchFamily="34" charset="0"/>
                </a:rPr>
                <a:t>Se il grafico che si desidera non è disponibile cliccare sul </a:t>
              </a:r>
              <a:r>
                <a:rPr lang="it-IT" b="1" dirty="0">
                  <a:solidFill>
                    <a:sysClr val="windowText" lastClr="000000"/>
                  </a:solidFill>
                  <a:latin typeface="Source Sans Pro" panose="020B0503030403020204" pitchFamily="34" charset="0"/>
                  <a:cs typeface="Calibri" panose="020F0502020204030204" pitchFamily="34" charset="0"/>
                </a:rPr>
                <a:t>menù</a:t>
              </a:r>
              <a:r>
                <a:rPr lang="it-IT" dirty="0">
                  <a:solidFill>
                    <a:sysClr val="windowText" lastClr="000000"/>
                  </a:solidFill>
                  <a:latin typeface="Source Sans Pro" panose="020B0503030403020204" pitchFamily="34" charset="0"/>
                  <a:cs typeface="Calibri" panose="020F0502020204030204" pitchFamily="34" charset="0"/>
                </a:rPr>
                <a:t> (3) e selezionare «</a:t>
              </a:r>
              <a:r>
                <a:rPr lang="it-IT" b="1" dirty="0">
                  <a:solidFill>
                    <a:sysClr val="windowText" lastClr="000000"/>
                  </a:solidFill>
                  <a:latin typeface="Source Sans Pro" panose="020B0503030403020204" pitchFamily="34" charset="0"/>
                  <a:cs typeface="Calibri" panose="020F0502020204030204" pitchFamily="34" charset="0"/>
                </a:rPr>
                <a:t>Crea Nuovo»</a:t>
              </a:r>
              <a:r>
                <a:rPr lang="it-IT" dirty="0">
                  <a:solidFill>
                    <a:sysClr val="windowText" lastClr="000000"/>
                  </a:solidFill>
                  <a:latin typeface="Source Sans Pro" panose="020B0503030403020204" pitchFamily="34" charset="0"/>
                  <a:cs typeface="Calibri" panose="020F0502020204030204" pitchFamily="34" charset="0"/>
                </a:rPr>
                <a:t>.</a:t>
              </a:r>
            </a:p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endParaRPr lang="it-IT" dirty="0">
                <a:solidFill>
                  <a:sysClr val="windowText" lastClr="000000"/>
                </a:solidFill>
                <a:latin typeface="Source Sans Pro" panose="020B0503030403020204" pitchFamily="34" charset="0"/>
                <a:cs typeface="Calibri" panose="020F0502020204030204" pitchFamily="34" charset="0"/>
              </a:endParaRPr>
            </a:p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endParaRPr lang="it-IT" dirty="0">
                <a:solidFill>
                  <a:sysClr val="windowText" lastClr="000000"/>
                </a:solidFill>
                <a:latin typeface="Source Sans Pro" panose="020B0503030403020204" pitchFamily="34" charset="0"/>
                <a:cs typeface="Calibri" panose="020F0502020204030204" pitchFamily="34" charset="0"/>
              </a:endParaRPr>
            </a:p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endParaRPr kumimoji="0" lang="it-IT" b="0" i="0" u="none" strike="noStrike" kern="120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ource Sans Pro" panose="020B0503030403020204" pitchFamily="34" charset="0"/>
                <a:cs typeface="Calibri" panose="020F0502020204030204" pitchFamily="34" charset="0"/>
              </a:endParaRPr>
            </a:p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endParaRPr kumimoji="0" lang="it-IT" b="0" i="0" u="none" strike="noStrike" kern="120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ource Sans Pro" panose="020B050303040302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0" name="Oval 16">
              <a:extLst>
                <a:ext uri="{FF2B5EF4-FFF2-40B4-BE49-F238E27FC236}">
                  <a16:creationId xmlns:a16="http://schemas.microsoft.com/office/drawing/2014/main" id="{26AF6915-C2C2-FA16-8AF4-CFC15232BCD0}"/>
                </a:ext>
              </a:extLst>
            </p:cNvPr>
            <p:cNvSpPr/>
            <p:nvPr/>
          </p:nvSpPr>
          <p:spPr>
            <a:xfrm>
              <a:off x="2006544" y="2499715"/>
              <a:ext cx="274449" cy="274449"/>
            </a:xfrm>
            <a:prstGeom prst="ellipse">
              <a:avLst/>
            </a:prstGeom>
            <a:solidFill>
              <a:srgbClr val="008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/>
                  <a:ea typeface="+mn-ea"/>
                  <a:cs typeface="+mn-cs"/>
                </a:rPr>
                <a:t>3</a:t>
              </a:r>
            </a:p>
          </p:txBody>
        </p:sp>
        <p:sp>
          <p:nvSpPr>
            <p:cNvPr id="21" name="Oval 17">
              <a:extLst>
                <a:ext uri="{FF2B5EF4-FFF2-40B4-BE49-F238E27FC236}">
                  <a16:creationId xmlns:a16="http://schemas.microsoft.com/office/drawing/2014/main" id="{CAF4F50A-2C22-61E5-43FA-CDB24A61D2F6}"/>
                </a:ext>
              </a:extLst>
            </p:cNvPr>
            <p:cNvSpPr/>
            <p:nvPr/>
          </p:nvSpPr>
          <p:spPr>
            <a:xfrm>
              <a:off x="2490354" y="1414095"/>
              <a:ext cx="274449" cy="274449"/>
            </a:xfrm>
            <a:prstGeom prst="ellipse">
              <a:avLst/>
            </a:prstGeom>
            <a:solidFill>
              <a:srgbClr val="008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22" name="Oval 18">
              <a:extLst>
                <a:ext uri="{FF2B5EF4-FFF2-40B4-BE49-F238E27FC236}">
                  <a16:creationId xmlns:a16="http://schemas.microsoft.com/office/drawing/2014/main" id="{D56FA645-DCA7-FB74-0A78-F451CD888ECA}"/>
                </a:ext>
              </a:extLst>
            </p:cNvPr>
            <p:cNvSpPr/>
            <p:nvPr/>
          </p:nvSpPr>
          <p:spPr>
            <a:xfrm>
              <a:off x="1188294" y="1899997"/>
              <a:ext cx="274449" cy="274449"/>
            </a:xfrm>
            <a:prstGeom prst="ellipse">
              <a:avLst/>
            </a:prstGeom>
            <a:solidFill>
              <a:srgbClr val="008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/>
                  <a:ea typeface="+mn-ea"/>
                  <a:cs typeface="+mn-cs"/>
                </a:rPr>
                <a:t>2</a:t>
              </a:r>
            </a:p>
          </p:txBody>
        </p:sp>
      </p:grpSp>
      <p:sp>
        <p:nvSpPr>
          <p:cNvPr id="4" name="Rectangle 19">
            <a:extLst>
              <a:ext uri="{FF2B5EF4-FFF2-40B4-BE49-F238E27FC236}">
                <a16:creationId xmlns:a16="http://schemas.microsoft.com/office/drawing/2014/main" id="{AE75F56E-8A28-9C15-A652-701114027E33}"/>
              </a:ext>
            </a:extLst>
          </p:cNvPr>
          <p:cNvSpPr/>
          <p:nvPr/>
        </p:nvSpPr>
        <p:spPr>
          <a:xfrm>
            <a:off x="6434776" y="1791997"/>
            <a:ext cx="1159098" cy="216000"/>
          </a:xfrm>
          <a:prstGeom prst="rect">
            <a:avLst/>
          </a:prstGeom>
          <a:noFill/>
          <a:ln w="28575" cap="flat" cmpd="sng" algn="ctr">
            <a:solidFill>
              <a:srgbClr val="339933">
                <a:alpha val="47843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6" name="Oval 20">
            <a:extLst>
              <a:ext uri="{FF2B5EF4-FFF2-40B4-BE49-F238E27FC236}">
                <a16:creationId xmlns:a16="http://schemas.microsoft.com/office/drawing/2014/main" id="{B8AEE12F-D6FA-DEB7-F0C8-42A1278B839B}"/>
              </a:ext>
            </a:extLst>
          </p:cNvPr>
          <p:cNvSpPr/>
          <p:nvPr/>
        </p:nvSpPr>
        <p:spPr>
          <a:xfrm>
            <a:off x="6302514" y="1791997"/>
            <a:ext cx="216000" cy="216000"/>
          </a:xfrm>
          <a:prstGeom prst="ellipse">
            <a:avLst/>
          </a:prstGeom>
          <a:solidFill>
            <a:srgbClr val="008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2</a:t>
            </a:r>
          </a:p>
        </p:txBody>
      </p:sp>
      <p:sp>
        <p:nvSpPr>
          <p:cNvPr id="7" name="Rectangle 19">
            <a:extLst>
              <a:ext uri="{FF2B5EF4-FFF2-40B4-BE49-F238E27FC236}">
                <a16:creationId xmlns:a16="http://schemas.microsoft.com/office/drawing/2014/main" id="{4F14B463-C72F-C1FA-12C2-C08AA8766117}"/>
              </a:ext>
            </a:extLst>
          </p:cNvPr>
          <p:cNvSpPr/>
          <p:nvPr/>
        </p:nvSpPr>
        <p:spPr>
          <a:xfrm>
            <a:off x="7629416" y="1791997"/>
            <a:ext cx="299738" cy="216000"/>
          </a:xfrm>
          <a:prstGeom prst="rect">
            <a:avLst/>
          </a:prstGeom>
          <a:noFill/>
          <a:ln w="28575" cap="flat" cmpd="sng" algn="ctr">
            <a:solidFill>
              <a:srgbClr val="339933">
                <a:alpha val="47843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8" name="Oval 20">
            <a:extLst>
              <a:ext uri="{FF2B5EF4-FFF2-40B4-BE49-F238E27FC236}">
                <a16:creationId xmlns:a16="http://schemas.microsoft.com/office/drawing/2014/main" id="{5B07E362-0A8E-874C-F8C1-36E9965B1C7A}"/>
              </a:ext>
            </a:extLst>
          </p:cNvPr>
          <p:cNvSpPr/>
          <p:nvPr/>
        </p:nvSpPr>
        <p:spPr>
          <a:xfrm>
            <a:off x="7779285" y="1899997"/>
            <a:ext cx="216000" cy="216000"/>
          </a:xfrm>
          <a:prstGeom prst="ellipse">
            <a:avLst/>
          </a:prstGeom>
          <a:solidFill>
            <a:srgbClr val="008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453259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>
            <a:extLst>
              <a:ext uri="{FF2B5EF4-FFF2-40B4-BE49-F238E27FC236}">
                <a16:creationId xmlns:a16="http://schemas.microsoft.com/office/drawing/2014/main" id="{5F40B42F-5AB1-D609-895B-EF5259F9D1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48206" y="501414"/>
            <a:ext cx="6727155" cy="5028530"/>
          </a:xfrm>
          <a:prstGeom prst="rect">
            <a:avLst/>
          </a:prstGeom>
        </p:spPr>
      </p:pic>
      <p:sp>
        <p:nvSpPr>
          <p:cNvPr id="2" name="Segnaposto testo verticale 4">
            <a:extLst>
              <a:ext uri="{FF2B5EF4-FFF2-40B4-BE49-F238E27FC236}">
                <a16:creationId xmlns:a16="http://schemas.microsoft.com/office/drawing/2014/main" id="{40825CB5-4D9B-738E-6212-0156CE294BFF}"/>
              </a:ext>
            </a:extLst>
          </p:cNvPr>
          <p:cNvSpPr txBox="1">
            <a:spLocks/>
          </p:cNvSpPr>
          <p:nvPr/>
        </p:nvSpPr>
        <p:spPr>
          <a:xfrm>
            <a:off x="510512" y="642337"/>
            <a:ext cx="10653443" cy="3845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  <a:defRPr sz="3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17483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0070C0"/>
              </a:buClr>
              <a:buSzPct val="85000"/>
              <a:buFont typeface="Arial" panose="020B0604020202020204" pitchFamily="34" charset="0"/>
              <a:buNone/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 cap="none" spc="31" baseline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271456" indent="-271456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+mj-lt"/>
              <a:buAutoNum type="arabicPeriod"/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7483" indent="-217483" algn="l" defTabSz="914377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71476" indent="-253994" algn="l" defTabSz="914377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71912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065BAA"/>
              </a:buClr>
              <a:buSzPct val="110000"/>
              <a:buFont typeface="Segoe UI Light" panose="020B0502040204020203" pitchFamily="34" charset="0"/>
              <a:buNone/>
              <a:tabLst/>
              <a:defRPr/>
            </a:pPr>
            <a:r>
              <a:rPr lang="it-IT" dirty="0">
                <a:solidFill>
                  <a:srgbClr val="065BAA"/>
                </a:solidFill>
                <a:latin typeface="Source Sans Pro" panose="020B0503030403020204" pitchFamily="34" charset="0"/>
              </a:rPr>
              <a:t>Grafico di una vista CRM</a:t>
            </a:r>
            <a:endParaRPr kumimoji="0" lang="it-IT" sz="3000" b="0" i="0" u="none" strike="noStrike" kern="1200" cap="none" spc="0" normalizeH="0" baseline="0" noProof="0" dirty="0">
              <a:ln>
                <a:noFill/>
              </a:ln>
              <a:solidFill>
                <a:srgbClr val="065BAA"/>
              </a:solidFill>
              <a:effectLst/>
              <a:uLnTx/>
              <a:uFillTx/>
              <a:latin typeface="Source Sans Pro" panose="020B0503030403020204" pitchFamily="34" charset="0"/>
            </a:endParaRPr>
          </a:p>
        </p:txBody>
      </p:sp>
      <p:sp>
        <p:nvSpPr>
          <p:cNvPr id="3" name="Titolo 1">
            <a:extLst>
              <a:ext uri="{FF2B5EF4-FFF2-40B4-BE49-F238E27FC236}">
                <a16:creationId xmlns:a16="http://schemas.microsoft.com/office/drawing/2014/main" id="{6C18FD20-F840-C9AF-1969-6269235008B7}"/>
              </a:ext>
            </a:extLst>
          </p:cNvPr>
          <p:cNvSpPr txBox="1">
            <a:spLocks/>
          </p:cNvSpPr>
          <p:nvPr/>
        </p:nvSpPr>
        <p:spPr>
          <a:xfrm>
            <a:off x="510512" y="255090"/>
            <a:ext cx="10653443" cy="38724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000" b="1" i="0" u="none" strike="noStrike" kern="1200" cap="none" spc="0" normalizeH="0" baseline="0" noProof="0" dirty="0">
                <a:ln>
                  <a:noFill/>
                </a:ln>
                <a:solidFill>
                  <a:srgbClr val="065BAA"/>
                </a:solidFill>
                <a:effectLst/>
                <a:uLnTx/>
                <a:uFillTx/>
                <a:latin typeface="Source Sans Pro" panose="020B0503030403020204" pitchFamily="34" charset="0"/>
              </a:rPr>
              <a:t>CRM</a:t>
            </a:r>
          </a:p>
        </p:txBody>
      </p:sp>
      <p:grpSp>
        <p:nvGrpSpPr>
          <p:cNvPr id="16" name="Gruppo 15">
            <a:extLst>
              <a:ext uri="{FF2B5EF4-FFF2-40B4-BE49-F238E27FC236}">
                <a16:creationId xmlns:a16="http://schemas.microsoft.com/office/drawing/2014/main" id="{1AB0669D-697E-E6C9-2661-18DED90A9CF5}"/>
              </a:ext>
            </a:extLst>
          </p:cNvPr>
          <p:cNvGrpSpPr/>
          <p:nvPr/>
        </p:nvGrpSpPr>
        <p:grpSpPr>
          <a:xfrm>
            <a:off x="499127" y="1435919"/>
            <a:ext cx="4334130" cy="4314825"/>
            <a:chOff x="499127" y="1435919"/>
            <a:chExt cx="4334130" cy="4314825"/>
          </a:xfrm>
        </p:grpSpPr>
        <p:sp>
          <p:nvSpPr>
            <p:cNvPr id="17" name="Text Placeholder 4">
              <a:extLst>
                <a:ext uri="{FF2B5EF4-FFF2-40B4-BE49-F238E27FC236}">
                  <a16:creationId xmlns:a16="http://schemas.microsoft.com/office/drawing/2014/main" id="{A14DA3D8-9B88-7798-70DA-087C73692D8C}"/>
                </a:ext>
              </a:extLst>
            </p:cNvPr>
            <p:cNvSpPr txBox="1">
              <a:spLocks/>
            </p:cNvSpPr>
            <p:nvPr/>
          </p:nvSpPr>
          <p:spPr>
            <a:xfrm>
              <a:off x="499127" y="1435919"/>
              <a:ext cx="4334130" cy="4314825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217488" indent="-217488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10000"/>
                <a:buFont typeface="Segoe UI Light" panose="020B0502040204020203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1488" indent="-254000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  <a:defRPr sz="160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070C0"/>
                </a:buClr>
                <a:buSzPct val="85000"/>
                <a:buFont typeface="Arial" panose="020B0604020202020204" pitchFamily="34" charset="0"/>
                <a:buNone/>
                <a:defRPr sz="160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600" b="1" kern="1200" cap="none" spc="30" baseline="0">
                  <a:solidFill>
                    <a:schemeClr val="tx1"/>
                  </a:solidFill>
                  <a:latin typeface="+mj-lt"/>
                  <a:ea typeface="+mn-ea"/>
                  <a:cs typeface="Calibri" panose="020F0502020204030204" pitchFamily="34" charset="0"/>
                </a:defRPr>
              </a:lvl4pPr>
              <a:lvl5pPr marL="271463" indent="-271463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Font typeface="+mj-lt"/>
                <a:buAutoNum type="arabicPeriod"/>
                <a:defRPr sz="160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7488" indent="-2174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10000"/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71488" indent="-2540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b="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9pPr>
            </a:lstStyle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r>
                <a:rPr lang="it-IT" dirty="0">
                  <a:solidFill>
                    <a:sysClr val="windowText" lastClr="000000"/>
                  </a:solidFill>
                  <a:latin typeface="Source Sans Pro" panose="020B0503030403020204" pitchFamily="34" charset="0"/>
                  <a:cs typeface="Calibri" panose="020F0502020204030204" pitchFamily="34" charset="0"/>
                </a:rPr>
                <a:t>Sarà possibile creare il grafico basato sui dati della vista selezionata tramite la finestra di Power Apps. </a:t>
              </a:r>
            </a:p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r>
                <a:rPr lang="it-IT" dirty="0">
                  <a:solidFill>
                    <a:sysClr val="windowText" lastClr="000000"/>
                  </a:solidFill>
                  <a:latin typeface="Source Sans Pro" panose="020B0503030403020204" pitchFamily="34" charset="0"/>
                  <a:cs typeface="Calibri" panose="020F0502020204030204" pitchFamily="34" charset="0"/>
                </a:rPr>
                <a:t>Il menù in alto propone i </a:t>
              </a:r>
              <a:r>
                <a:rPr lang="it-IT" b="1" dirty="0">
                  <a:solidFill>
                    <a:sysClr val="windowText" lastClr="000000"/>
                  </a:solidFill>
                  <a:latin typeface="Source Sans Pro" panose="020B0503030403020204" pitchFamily="34" charset="0"/>
                  <a:cs typeface="Calibri" panose="020F0502020204030204" pitchFamily="34" charset="0"/>
                </a:rPr>
                <a:t>diversi tipi di grafico </a:t>
              </a:r>
              <a:r>
                <a:rPr lang="it-IT" dirty="0">
                  <a:solidFill>
                    <a:sysClr val="windowText" lastClr="000000"/>
                  </a:solidFill>
                  <a:latin typeface="Source Sans Pro" panose="020B0503030403020204" pitchFamily="34" charset="0"/>
                  <a:cs typeface="Calibri" panose="020F0502020204030204" pitchFamily="34" charset="0"/>
                </a:rPr>
                <a:t>che si possono creare (1) e nella parte dedicata alla </a:t>
              </a:r>
              <a:r>
                <a:rPr lang="it-IT" b="1" dirty="0">
                  <a:solidFill>
                    <a:sysClr val="windowText" lastClr="000000"/>
                  </a:solidFill>
                  <a:latin typeface="Source Sans Pro" panose="020B0503030403020204" pitchFamily="34" charset="0"/>
                  <a:cs typeface="Calibri" panose="020F0502020204030204" pitchFamily="34" charset="0"/>
                </a:rPr>
                <a:t>legenda</a:t>
              </a:r>
              <a:r>
                <a:rPr lang="it-IT" dirty="0">
                  <a:solidFill>
                    <a:sysClr val="windowText" lastClr="000000"/>
                  </a:solidFill>
                  <a:latin typeface="Source Sans Pro" panose="020B0503030403020204" pitchFamily="34" charset="0"/>
                  <a:cs typeface="Calibri" panose="020F0502020204030204" pitchFamily="34" charset="0"/>
                </a:rPr>
                <a:t> (2) è possibile posizionare i dati come desiderato. </a:t>
              </a:r>
            </a:p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r>
                <a:rPr lang="it-IT" dirty="0">
                  <a:solidFill>
                    <a:sysClr val="windowText" lastClr="000000"/>
                  </a:solidFill>
                  <a:latin typeface="Source Sans Pro" panose="020B0503030403020204" pitchFamily="34" charset="0"/>
                  <a:cs typeface="Calibri" panose="020F0502020204030204" pitchFamily="34" charset="0"/>
                </a:rPr>
                <a:t>La sezione centrale permette di visualizzare la preview del grafico. </a:t>
              </a:r>
            </a:p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r>
                <a:rPr lang="it-IT" dirty="0">
                  <a:solidFill>
                    <a:sysClr val="windowText" lastClr="000000"/>
                  </a:solidFill>
                  <a:latin typeface="Source Sans Pro" panose="020B0503030403020204" pitchFamily="34" charset="0"/>
                  <a:cs typeface="Calibri" panose="020F0502020204030204" pitchFamily="34" charset="0"/>
                </a:rPr>
                <a:t>Quando il grafico desiderato viene creato si deve cliccare su </a:t>
              </a:r>
              <a:r>
                <a:rPr lang="it-IT" b="1" dirty="0">
                  <a:solidFill>
                    <a:sysClr val="windowText" lastClr="000000"/>
                  </a:solidFill>
                  <a:latin typeface="Source Sans Pro" panose="020B0503030403020204" pitchFamily="34" charset="0"/>
                  <a:cs typeface="Calibri" panose="020F0502020204030204" pitchFamily="34" charset="0"/>
                </a:rPr>
                <a:t>«Salva &amp; Chiudi» </a:t>
              </a:r>
              <a:r>
                <a:rPr lang="it-IT" dirty="0">
                  <a:solidFill>
                    <a:sysClr val="windowText" lastClr="000000"/>
                  </a:solidFill>
                  <a:latin typeface="Source Sans Pro" panose="020B0503030403020204" pitchFamily="34" charset="0"/>
                  <a:cs typeface="Calibri" panose="020F0502020204030204" pitchFamily="34" charset="0"/>
                </a:rPr>
                <a:t>(3) . </a:t>
              </a:r>
            </a:p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r>
                <a:rPr lang="it-IT" dirty="0">
                  <a:solidFill>
                    <a:sysClr val="windowText" lastClr="000000"/>
                  </a:solidFill>
                  <a:latin typeface="Source Sans Pro" panose="020B0503030403020204" pitchFamily="34" charset="0"/>
                  <a:cs typeface="Calibri" panose="020F0502020204030204" pitchFamily="34" charset="0"/>
                </a:rPr>
                <a:t>Da questo momento il grafico è disponibile per essere inserito all’interno di una dashboard personale. </a:t>
              </a:r>
            </a:p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endParaRPr lang="it-IT" dirty="0">
                <a:solidFill>
                  <a:sysClr val="windowText" lastClr="000000"/>
                </a:solidFill>
                <a:latin typeface="Source Sans Pro" panose="020B0503030403020204" pitchFamily="34" charset="0"/>
                <a:cs typeface="Calibri" panose="020F0502020204030204" pitchFamily="34" charset="0"/>
              </a:endParaRPr>
            </a:p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endParaRPr lang="it-IT" dirty="0">
                <a:solidFill>
                  <a:sysClr val="windowText" lastClr="000000"/>
                </a:solidFill>
                <a:latin typeface="Source Sans Pro" panose="020B0503030403020204" pitchFamily="34" charset="0"/>
                <a:cs typeface="Calibri" panose="020F0502020204030204" pitchFamily="34" charset="0"/>
              </a:endParaRPr>
            </a:p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endParaRPr kumimoji="0" lang="it-IT" b="0" i="0" u="none" strike="noStrike" kern="120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ource Sans Pro" panose="020B0503030403020204" pitchFamily="34" charset="0"/>
                <a:cs typeface="Calibri" panose="020F0502020204030204" pitchFamily="34" charset="0"/>
              </a:endParaRPr>
            </a:p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endParaRPr kumimoji="0" lang="it-IT" b="0" i="0" u="none" strike="noStrike" kern="120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ource Sans Pro" panose="020B050303040302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0" name="Oval 16">
              <a:extLst>
                <a:ext uri="{FF2B5EF4-FFF2-40B4-BE49-F238E27FC236}">
                  <a16:creationId xmlns:a16="http://schemas.microsoft.com/office/drawing/2014/main" id="{26AF6915-C2C2-FA16-8AF4-CFC15232BCD0}"/>
                </a:ext>
              </a:extLst>
            </p:cNvPr>
            <p:cNvSpPr/>
            <p:nvPr/>
          </p:nvSpPr>
          <p:spPr>
            <a:xfrm>
              <a:off x="2929655" y="3949608"/>
              <a:ext cx="274449" cy="274449"/>
            </a:xfrm>
            <a:prstGeom prst="ellipse">
              <a:avLst/>
            </a:prstGeom>
            <a:solidFill>
              <a:srgbClr val="008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/>
                  <a:ea typeface="+mn-ea"/>
                  <a:cs typeface="+mn-cs"/>
                </a:rPr>
                <a:t>3</a:t>
              </a:r>
            </a:p>
          </p:txBody>
        </p:sp>
        <p:sp>
          <p:nvSpPr>
            <p:cNvPr id="21" name="Oval 17">
              <a:extLst>
                <a:ext uri="{FF2B5EF4-FFF2-40B4-BE49-F238E27FC236}">
                  <a16:creationId xmlns:a16="http://schemas.microsoft.com/office/drawing/2014/main" id="{CAF4F50A-2C22-61E5-43FA-CDB24A61D2F6}"/>
                </a:ext>
              </a:extLst>
            </p:cNvPr>
            <p:cNvSpPr/>
            <p:nvPr/>
          </p:nvSpPr>
          <p:spPr>
            <a:xfrm>
              <a:off x="1990494" y="2262245"/>
              <a:ext cx="274449" cy="274449"/>
            </a:xfrm>
            <a:prstGeom prst="ellipse">
              <a:avLst/>
            </a:prstGeom>
            <a:solidFill>
              <a:srgbClr val="008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22" name="Oval 18">
              <a:extLst>
                <a:ext uri="{FF2B5EF4-FFF2-40B4-BE49-F238E27FC236}">
                  <a16:creationId xmlns:a16="http://schemas.microsoft.com/office/drawing/2014/main" id="{D56FA645-DCA7-FB74-0A78-F451CD888ECA}"/>
                </a:ext>
              </a:extLst>
            </p:cNvPr>
            <p:cNvSpPr/>
            <p:nvPr/>
          </p:nvSpPr>
          <p:spPr>
            <a:xfrm>
              <a:off x="1228391" y="2531153"/>
              <a:ext cx="274449" cy="274449"/>
            </a:xfrm>
            <a:prstGeom prst="ellipse">
              <a:avLst/>
            </a:prstGeom>
            <a:solidFill>
              <a:srgbClr val="008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/>
                  <a:ea typeface="+mn-ea"/>
                  <a:cs typeface="+mn-cs"/>
                </a:rPr>
                <a:t>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39757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olo 1">
            <a:extLst>
              <a:ext uri="{FF2B5EF4-FFF2-40B4-BE49-F238E27FC236}">
                <a16:creationId xmlns:a16="http://schemas.microsoft.com/office/drawing/2014/main" id="{198A9FC1-59A4-0258-1C1A-4F3BDA1A6E99}"/>
              </a:ext>
            </a:extLst>
          </p:cNvPr>
          <p:cNvSpPr txBox="1">
            <a:spLocks/>
          </p:cNvSpPr>
          <p:nvPr/>
        </p:nvSpPr>
        <p:spPr>
          <a:xfrm>
            <a:off x="510555" y="257825"/>
            <a:ext cx="10653443" cy="38724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it-IT" altLang="it-IT" b="1" i="0" u="none" strike="noStrike" kern="1200" cap="none" spc="0" normalizeH="0" baseline="0" noProof="0" dirty="0">
                <a:ln>
                  <a:noFill/>
                </a:ln>
                <a:solidFill>
                  <a:srgbClr val="065BAA"/>
                </a:solidFill>
                <a:effectLst/>
                <a:uLnTx/>
                <a:uFillTx/>
                <a:latin typeface="Source Sans Pro" panose="020B0503030403020204" pitchFamily="34" charset="0"/>
              </a:rPr>
              <a:t>CRM</a:t>
            </a:r>
            <a:endParaRPr kumimoji="0" lang="en-AU" altLang="it-IT" b="1" i="0" u="none" strike="noStrike" kern="1200" cap="none" spc="0" normalizeH="0" baseline="0" noProof="0" dirty="0">
              <a:ln>
                <a:noFill/>
              </a:ln>
              <a:solidFill>
                <a:srgbClr val="065BAA"/>
              </a:solidFill>
              <a:effectLst/>
              <a:uLnTx/>
              <a:uFillTx/>
              <a:latin typeface="Source Sans Pro" panose="020B0503030403020204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b="1" i="0" u="none" strike="noStrike" kern="1200" cap="none" spc="0" normalizeH="0" baseline="0" noProof="0" dirty="0">
              <a:ln>
                <a:noFill/>
              </a:ln>
              <a:solidFill>
                <a:srgbClr val="065BAA"/>
              </a:solidFill>
              <a:effectLst/>
              <a:uLnTx/>
              <a:uFillTx/>
              <a:latin typeface="Source Sans Pro" panose="020B0503030403020204" pitchFamily="34" charset="0"/>
            </a:endParaRPr>
          </a:p>
        </p:txBody>
      </p:sp>
      <p:sp>
        <p:nvSpPr>
          <p:cNvPr id="10" name="Segnaposto testo verticale 4">
            <a:extLst>
              <a:ext uri="{FF2B5EF4-FFF2-40B4-BE49-F238E27FC236}">
                <a16:creationId xmlns:a16="http://schemas.microsoft.com/office/drawing/2014/main" id="{12368366-BDA4-A9B7-2CB1-B9C719AD796B}"/>
              </a:ext>
            </a:extLst>
          </p:cNvPr>
          <p:cNvSpPr txBox="1">
            <a:spLocks/>
          </p:cNvSpPr>
          <p:nvPr/>
        </p:nvSpPr>
        <p:spPr>
          <a:xfrm>
            <a:off x="510512" y="642337"/>
            <a:ext cx="10653443" cy="3845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  <a:defRPr sz="3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17483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0070C0"/>
              </a:buClr>
              <a:buSzPct val="85000"/>
              <a:buFont typeface="Arial" panose="020B0604020202020204" pitchFamily="34" charset="0"/>
              <a:buNone/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 cap="none" spc="31" baseline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271456" indent="-271456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+mj-lt"/>
              <a:buAutoNum type="arabicPeriod"/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7483" indent="-217483" algn="l" defTabSz="914377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71476" indent="-253994" algn="l" defTabSz="914377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71912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065BAA"/>
              </a:buClr>
              <a:buSzPct val="110000"/>
              <a:buFont typeface="Segoe UI Light" panose="020B0502040204020203" pitchFamily="34" charset="0"/>
              <a:buNone/>
              <a:tabLst/>
              <a:defRPr/>
            </a:pPr>
            <a:r>
              <a:rPr lang="it-IT" dirty="0">
                <a:solidFill>
                  <a:srgbClr val="065BAA"/>
                </a:solidFill>
                <a:latin typeface="Source Sans Pro" panose="020B0503030403020204" pitchFamily="34" charset="0"/>
              </a:rPr>
              <a:t>Come accedere</a:t>
            </a:r>
            <a:endParaRPr kumimoji="0" lang="en-AU" b="0" i="0" u="none" strike="noStrike" kern="1200" cap="none" spc="0" normalizeH="0" baseline="0" noProof="0" dirty="0">
              <a:ln>
                <a:noFill/>
              </a:ln>
              <a:solidFill>
                <a:srgbClr val="065BAA"/>
              </a:solidFill>
              <a:effectLst/>
              <a:uLnTx/>
              <a:uFillTx/>
              <a:latin typeface="Source Sans Pro" panose="020B0503030403020204" pitchFamily="34" charset="0"/>
            </a:endParaRPr>
          </a:p>
        </p:txBody>
      </p:sp>
      <p:sp>
        <p:nvSpPr>
          <p:cNvPr id="2" name="Segnaposto testo verticale 4">
            <a:extLst>
              <a:ext uri="{FF2B5EF4-FFF2-40B4-BE49-F238E27FC236}">
                <a16:creationId xmlns:a16="http://schemas.microsoft.com/office/drawing/2014/main" id="{2A576D92-4940-0B41-E9ED-2E00A26A209F}"/>
              </a:ext>
            </a:extLst>
          </p:cNvPr>
          <p:cNvSpPr txBox="1">
            <a:spLocks/>
          </p:cNvSpPr>
          <p:nvPr/>
        </p:nvSpPr>
        <p:spPr>
          <a:xfrm>
            <a:off x="510511" y="3302805"/>
            <a:ext cx="10653443" cy="3845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  <a:defRPr sz="3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17483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0070C0"/>
              </a:buClr>
              <a:buSzPct val="85000"/>
              <a:buFont typeface="Arial" panose="020B0604020202020204" pitchFamily="34" charset="0"/>
              <a:buNone/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 cap="none" spc="31" baseline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271456" indent="-271456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+mj-lt"/>
              <a:buAutoNum type="arabicPeriod"/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7483" indent="-217483" algn="l" defTabSz="914377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71476" indent="-253994" algn="l" defTabSz="914377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71912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065BAA"/>
              </a:buClr>
              <a:buSzPct val="110000"/>
              <a:buFont typeface="Segoe UI Light" panose="020B0502040204020203" pitchFamily="34" charset="0"/>
              <a:buNone/>
              <a:tabLst/>
              <a:defRPr/>
            </a:pPr>
            <a:r>
              <a:rPr lang="it-IT" dirty="0">
                <a:solidFill>
                  <a:srgbClr val="065BAA"/>
                </a:solidFill>
                <a:latin typeface="Source Sans Pro" panose="020B0503030403020204" pitchFamily="34" charset="0"/>
              </a:rPr>
              <a:t>Documentazione utile</a:t>
            </a:r>
            <a:endParaRPr kumimoji="0" lang="en-AU" b="0" i="0" u="none" strike="noStrike" kern="1200" cap="none" spc="0" normalizeH="0" baseline="0" noProof="0" dirty="0">
              <a:ln>
                <a:noFill/>
              </a:ln>
              <a:solidFill>
                <a:srgbClr val="065BAA"/>
              </a:solidFill>
              <a:effectLst/>
              <a:uLnTx/>
              <a:uFillTx/>
              <a:latin typeface="Source Sans Pro" panose="020B0503030403020204" pitchFamily="34" charset="0"/>
            </a:endParaRPr>
          </a:p>
        </p:txBody>
      </p:sp>
      <p:grpSp>
        <p:nvGrpSpPr>
          <p:cNvPr id="11" name="Gruppo 10">
            <a:extLst>
              <a:ext uri="{FF2B5EF4-FFF2-40B4-BE49-F238E27FC236}">
                <a16:creationId xmlns:a16="http://schemas.microsoft.com/office/drawing/2014/main" id="{3EFB1E45-3F47-A6C0-7D8F-307F48795902}"/>
              </a:ext>
            </a:extLst>
          </p:cNvPr>
          <p:cNvGrpSpPr/>
          <p:nvPr/>
        </p:nvGrpSpPr>
        <p:grpSpPr>
          <a:xfrm>
            <a:off x="2801726" y="1194590"/>
            <a:ext cx="5317087" cy="1558696"/>
            <a:chOff x="2764467" y="1194590"/>
            <a:chExt cx="5317087" cy="1558696"/>
          </a:xfrm>
        </p:grpSpPr>
        <p:sp>
          <p:nvSpPr>
            <p:cNvPr id="4" name="CasellaDiTesto 3">
              <a:extLst>
                <a:ext uri="{FF2B5EF4-FFF2-40B4-BE49-F238E27FC236}">
                  <a16:creationId xmlns:a16="http://schemas.microsoft.com/office/drawing/2014/main" id="{0AA69C7C-71F8-0F25-DE8B-590CAA75A8E7}"/>
                </a:ext>
              </a:extLst>
            </p:cNvPr>
            <p:cNvSpPr txBox="1"/>
            <p:nvPr/>
          </p:nvSpPr>
          <p:spPr>
            <a:xfrm>
              <a:off x="4241074" y="2299506"/>
              <a:ext cx="3840480" cy="384511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defPPr>
                <a:defRPr lang="it-IT"/>
              </a:defPPr>
              <a:lvl1pPr marR="0" lvl="0" indent="0" defTabSz="719121" fontAlgn="auto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 sz="3000">
                  <a:solidFill>
                    <a:srgbClr val="065BAA"/>
                  </a:solidFill>
                  <a:latin typeface="Source Sans Pro" panose="020B0503030403020204" pitchFamily="34" charset="0"/>
                </a:defRPr>
              </a:lvl1pPr>
              <a:lvl2pPr marL="217483" indent="0" defTabSz="71912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None/>
                <a:defRPr i="0"/>
              </a:lvl2pPr>
              <a:lvl3pPr marL="0" indent="0" defTabSz="71912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070C0"/>
                </a:buClr>
                <a:buSzPct val="85000"/>
                <a:buFont typeface="Arial" panose="020B0604020202020204" pitchFamily="34" charset="0"/>
                <a:buNone/>
                <a:defRPr i="0"/>
              </a:lvl3pPr>
              <a:lvl4pPr marL="0" indent="0" defTabSz="71912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b="1" cap="none" spc="31" baseline="0">
                  <a:latin typeface="+mj-lt"/>
                  <a:cs typeface="Calibri" panose="020F0502020204030204" pitchFamily="34" charset="0"/>
                </a:defRPr>
              </a:lvl4pPr>
              <a:lvl5pPr marL="271456" indent="-271456" defTabSz="71912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Font typeface="+mj-lt"/>
                <a:buAutoNum type="arabicPeriod"/>
                <a:defRPr i="0"/>
              </a:lvl5pPr>
              <a:lvl6pPr marL="217483" indent="-217483" defTabSz="914377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10000"/>
                <a:buFont typeface="Arial" panose="020B0604020202020204" pitchFamily="34" charset="0"/>
                <a:buChar char="•"/>
                <a:defRPr b="0" i="0"/>
              </a:lvl6pPr>
              <a:lvl7pPr marL="471476" indent="-253994" defTabSz="914377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  <a:defRPr b="0" i="0"/>
              </a:lvl7pPr>
              <a:lvl8pPr marL="0" indent="0" defTabSz="914377">
                <a:lnSpc>
                  <a:spcPct val="90000"/>
                </a:lnSpc>
                <a:spcBef>
                  <a:spcPts val="300"/>
                </a:spcBef>
                <a:spcAft>
                  <a:spcPts val="600"/>
                </a:spcAft>
                <a:buFont typeface="Arial" panose="020B0604020202020204" pitchFamily="34" charset="0"/>
                <a:buNone/>
              </a:lvl8pPr>
              <a:lvl9pPr marL="0" indent="0" defTabSz="914377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b="0">
                  <a:latin typeface="+mj-lt"/>
                </a:defRPr>
              </a:lvl9pPr>
            </a:lstStyle>
            <a:p>
              <a:r>
                <a:rPr lang="it-IT" sz="2000" dirty="0">
                  <a:solidFill>
                    <a:srgbClr val="92D050"/>
                  </a:solidFill>
                  <a:hlinkClick r:id="rId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baxi-it.crm4.dynamics.com/</a:t>
              </a:r>
              <a:endParaRPr lang="it-IT" sz="2000" dirty="0">
                <a:solidFill>
                  <a:srgbClr val="92D050"/>
                </a:solidFill>
              </a:endParaRPr>
            </a:p>
          </p:txBody>
        </p:sp>
        <p:pic>
          <p:nvPicPr>
            <p:cNvPr id="15362" name="Picture 2" descr="Dynamics 365 Logo | evolution history and meaning, PNG">
              <a:extLst>
                <a:ext uri="{FF2B5EF4-FFF2-40B4-BE49-F238E27FC236}">
                  <a16:creationId xmlns:a16="http://schemas.microsoft.com/office/drawing/2014/main" id="{1A994717-0BC7-9CCD-2E07-80D517A4305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7524" r="76350" b="31978"/>
            <a:stretch/>
          </p:blipFill>
          <p:spPr bwMode="auto">
            <a:xfrm>
              <a:off x="2764467" y="1194590"/>
              <a:ext cx="1398230" cy="1558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CasellaDiTesto 7">
              <a:extLst>
                <a:ext uri="{FF2B5EF4-FFF2-40B4-BE49-F238E27FC236}">
                  <a16:creationId xmlns:a16="http://schemas.microsoft.com/office/drawing/2014/main" id="{559A460D-19BD-AE29-7339-8745D942763D}"/>
                </a:ext>
              </a:extLst>
            </p:cNvPr>
            <p:cNvSpPr txBox="1"/>
            <p:nvPr/>
          </p:nvSpPr>
          <p:spPr>
            <a:xfrm>
              <a:off x="4241074" y="1832491"/>
              <a:ext cx="3840480" cy="384511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defPPr>
                <a:defRPr lang="it-IT"/>
              </a:defPPr>
              <a:lvl1pPr marR="0" lvl="0" indent="0" defTabSz="719121" fontAlgn="auto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 sz="3000">
                  <a:solidFill>
                    <a:srgbClr val="065BAA"/>
                  </a:solidFill>
                  <a:latin typeface="Source Sans Pro" panose="020B0503030403020204" pitchFamily="34" charset="0"/>
                </a:defRPr>
              </a:lvl1pPr>
              <a:lvl2pPr marL="217483" indent="0" defTabSz="71912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None/>
                <a:defRPr i="0"/>
              </a:lvl2pPr>
              <a:lvl3pPr marL="0" indent="0" defTabSz="71912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070C0"/>
                </a:buClr>
                <a:buSzPct val="85000"/>
                <a:buFont typeface="Arial" panose="020B0604020202020204" pitchFamily="34" charset="0"/>
                <a:buNone/>
                <a:defRPr i="0"/>
              </a:lvl3pPr>
              <a:lvl4pPr marL="0" indent="0" defTabSz="71912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b="1" cap="none" spc="31" baseline="0">
                  <a:latin typeface="+mj-lt"/>
                  <a:cs typeface="Calibri" panose="020F0502020204030204" pitchFamily="34" charset="0"/>
                </a:defRPr>
              </a:lvl4pPr>
              <a:lvl5pPr marL="271456" indent="-271456" defTabSz="71912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Font typeface="+mj-lt"/>
                <a:buAutoNum type="arabicPeriod"/>
                <a:defRPr i="0"/>
              </a:lvl5pPr>
              <a:lvl6pPr marL="217483" indent="-217483" defTabSz="914377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10000"/>
                <a:buFont typeface="Arial" panose="020B0604020202020204" pitchFamily="34" charset="0"/>
                <a:buChar char="•"/>
                <a:defRPr b="0" i="0"/>
              </a:lvl6pPr>
              <a:lvl7pPr marL="471476" indent="-253994" defTabSz="914377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  <a:defRPr b="0" i="0"/>
              </a:lvl7pPr>
              <a:lvl8pPr marL="0" indent="0" defTabSz="914377">
                <a:lnSpc>
                  <a:spcPct val="90000"/>
                </a:lnSpc>
                <a:spcBef>
                  <a:spcPts val="300"/>
                </a:spcBef>
                <a:spcAft>
                  <a:spcPts val="600"/>
                </a:spcAft>
                <a:buFont typeface="Arial" panose="020B0604020202020204" pitchFamily="34" charset="0"/>
                <a:buNone/>
              </a:lvl8pPr>
              <a:lvl9pPr marL="0" indent="0" defTabSz="914377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b="0">
                  <a:latin typeface="+mj-lt"/>
                </a:defRPr>
              </a:lvl9pPr>
            </a:lstStyle>
            <a:p>
              <a:r>
                <a:rPr lang="it-IT" sz="2000" dirty="0">
                  <a:solidFill>
                    <a:srgbClr val="92D050"/>
                  </a:solidFill>
                </a:rPr>
                <a:t>Credenziali BDRTG</a:t>
              </a:r>
            </a:p>
          </p:txBody>
        </p:sp>
      </p:grpSp>
      <p:grpSp>
        <p:nvGrpSpPr>
          <p:cNvPr id="22" name="Gruppo 21">
            <a:extLst>
              <a:ext uri="{FF2B5EF4-FFF2-40B4-BE49-F238E27FC236}">
                <a16:creationId xmlns:a16="http://schemas.microsoft.com/office/drawing/2014/main" id="{D111D03E-FC60-1E65-1D34-204FAFD2A352}"/>
              </a:ext>
            </a:extLst>
          </p:cNvPr>
          <p:cNvGrpSpPr/>
          <p:nvPr/>
        </p:nvGrpSpPr>
        <p:grpSpPr>
          <a:xfrm>
            <a:off x="2599560" y="4315955"/>
            <a:ext cx="6239637" cy="1426575"/>
            <a:chOff x="3209163" y="4315955"/>
            <a:chExt cx="6239637" cy="1426575"/>
          </a:xfrm>
        </p:grpSpPr>
        <p:sp>
          <p:nvSpPr>
            <p:cNvPr id="13" name="CasellaDiTesto 12">
              <a:extLst>
                <a:ext uri="{FF2B5EF4-FFF2-40B4-BE49-F238E27FC236}">
                  <a16:creationId xmlns:a16="http://schemas.microsoft.com/office/drawing/2014/main" id="{197C8B24-5DD8-25E1-CD75-A1180633F1EE}"/>
                </a:ext>
              </a:extLst>
            </p:cNvPr>
            <p:cNvSpPr txBox="1"/>
            <p:nvPr/>
          </p:nvSpPr>
          <p:spPr>
            <a:xfrm>
              <a:off x="4914063" y="4580863"/>
              <a:ext cx="4534737" cy="384511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defPPr>
                <a:defRPr lang="it-IT"/>
              </a:defPPr>
              <a:lvl1pPr marR="0" lvl="0" indent="0" defTabSz="719121" fontAlgn="auto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 sz="3000">
                  <a:solidFill>
                    <a:srgbClr val="065BAA"/>
                  </a:solidFill>
                  <a:latin typeface="Source Sans Pro" panose="020B0503030403020204" pitchFamily="34" charset="0"/>
                </a:defRPr>
              </a:lvl1pPr>
              <a:lvl2pPr marL="217483" indent="0" defTabSz="71912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None/>
                <a:defRPr i="0"/>
              </a:lvl2pPr>
              <a:lvl3pPr marL="0" indent="0" defTabSz="71912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070C0"/>
                </a:buClr>
                <a:buSzPct val="85000"/>
                <a:buFont typeface="Arial" panose="020B0604020202020204" pitchFamily="34" charset="0"/>
                <a:buNone/>
                <a:defRPr i="0"/>
              </a:lvl3pPr>
              <a:lvl4pPr marL="0" indent="0" defTabSz="71912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b="1" cap="none" spc="31" baseline="0">
                  <a:latin typeface="+mj-lt"/>
                  <a:cs typeface="Calibri" panose="020F0502020204030204" pitchFamily="34" charset="0"/>
                </a:defRPr>
              </a:lvl4pPr>
              <a:lvl5pPr marL="271456" indent="-271456" defTabSz="71912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Font typeface="+mj-lt"/>
                <a:buAutoNum type="arabicPeriod"/>
                <a:defRPr i="0"/>
              </a:lvl5pPr>
              <a:lvl6pPr marL="217483" indent="-217483" defTabSz="914377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10000"/>
                <a:buFont typeface="Arial" panose="020B0604020202020204" pitchFamily="34" charset="0"/>
                <a:buChar char="•"/>
                <a:defRPr b="0" i="0"/>
              </a:lvl6pPr>
              <a:lvl7pPr marL="471476" indent="-253994" defTabSz="914377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  <a:defRPr b="0" i="0"/>
              </a:lvl7pPr>
              <a:lvl8pPr marL="0" indent="0" defTabSz="914377">
                <a:lnSpc>
                  <a:spcPct val="90000"/>
                </a:lnSpc>
                <a:spcBef>
                  <a:spcPts val="300"/>
                </a:spcBef>
                <a:spcAft>
                  <a:spcPts val="600"/>
                </a:spcAft>
                <a:buFont typeface="Arial" panose="020B0604020202020204" pitchFamily="34" charset="0"/>
                <a:buNone/>
              </a:lvl8pPr>
              <a:lvl9pPr marL="0" indent="0" defTabSz="914377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b="0">
                  <a:latin typeface="+mj-lt"/>
                </a:defRPr>
              </a:lvl9pPr>
            </a:lstStyle>
            <a:p>
              <a:r>
                <a:rPr lang="it-IT" sz="2000" dirty="0">
                  <a:solidFill>
                    <a:srgbClr val="0070C0"/>
                  </a:solidFill>
                  <a:hlinkClick r:id="rId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www.baxi.it/Help-interni-Baxi</a:t>
              </a:r>
              <a:endParaRPr lang="it-IT" sz="2000" dirty="0">
                <a:solidFill>
                  <a:srgbClr val="0070C0"/>
                </a:solidFill>
              </a:endParaRPr>
            </a:p>
          </p:txBody>
        </p:sp>
        <p:pic>
          <p:nvPicPr>
            <p:cNvPr id="16" name="Immagine 15">
              <a:extLst>
                <a:ext uri="{FF2B5EF4-FFF2-40B4-BE49-F238E27FC236}">
                  <a16:creationId xmlns:a16="http://schemas.microsoft.com/office/drawing/2014/main" id="{EB7AAD9A-2CDC-9DCB-9FD4-7B258ADB967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558" t="-701" r="71333" b="64784"/>
            <a:stretch/>
          </p:blipFill>
          <p:spPr>
            <a:xfrm>
              <a:off x="3437457" y="4605714"/>
              <a:ext cx="281103" cy="288503"/>
            </a:xfrm>
            <a:prstGeom prst="rect">
              <a:avLst/>
            </a:prstGeom>
            <a:effectLst>
              <a:innerShdw blurRad="63500" dist="50800" dir="13500000">
                <a:srgbClr val="005B99">
                  <a:alpha val="50000"/>
                </a:srgbClr>
              </a:innerShdw>
            </a:effectLst>
          </p:spPr>
        </p:pic>
        <p:pic>
          <p:nvPicPr>
            <p:cNvPr id="17" name="Immagine 16">
              <a:extLst>
                <a:ext uri="{FF2B5EF4-FFF2-40B4-BE49-F238E27FC236}">
                  <a16:creationId xmlns:a16="http://schemas.microsoft.com/office/drawing/2014/main" id="{EED8D22F-5CED-2A12-402F-E42786E3911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017" t="-700" r="42335" b="66438"/>
            <a:stretch/>
          </p:blipFill>
          <p:spPr>
            <a:xfrm>
              <a:off x="3718560" y="4575461"/>
              <a:ext cx="722811" cy="384511"/>
            </a:xfrm>
            <a:prstGeom prst="rect">
              <a:avLst/>
            </a:prstGeom>
            <a:effectLst>
              <a:innerShdw blurRad="63500" dist="50800" dir="13500000">
                <a:srgbClr val="005B99">
                  <a:alpha val="50000"/>
                </a:srgbClr>
              </a:innerShdw>
            </a:effectLst>
          </p:spPr>
        </p:pic>
        <p:pic>
          <p:nvPicPr>
            <p:cNvPr id="18" name="Immagine 17">
              <a:extLst>
                <a:ext uri="{FF2B5EF4-FFF2-40B4-BE49-F238E27FC236}">
                  <a16:creationId xmlns:a16="http://schemas.microsoft.com/office/drawing/2014/main" id="{D1B94DDF-B32C-BC87-4C52-DE0CF5A2FE8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6475" t="-912" r="27416" b="64995"/>
            <a:stretch/>
          </p:blipFill>
          <p:spPr>
            <a:xfrm>
              <a:off x="4453951" y="4605714"/>
              <a:ext cx="281103" cy="288503"/>
            </a:xfrm>
            <a:prstGeom prst="rect">
              <a:avLst/>
            </a:prstGeom>
            <a:effectLst>
              <a:innerShdw blurRad="63500" dist="50800" dir="13500000">
                <a:srgbClr val="005B99">
                  <a:alpha val="50000"/>
                </a:srgbClr>
              </a:innerShdw>
            </a:effectLst>
          </p:spPr>
        </p:pic>
        <p:pic>
          <p:nvPicPr>
            <p:cNvPr id="15366" name="Picture 6" descr="Lente Ingrandimento Vetro Icona - Grafica vettoriale gratuita su Pixabay">
              <a:extLst>
                <a:ext uri="{FF2B5EF4-FFF2-40B4-BE49-F238E27FC236}">
                  <a16:creationId xmlns:a16="http://schemas.microsoft.com/office/drawing/2014/main" id="{286AD416-89B3-28C6-83E4-C0B204C65B9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209163" y="4315955"/>
              <a:ext cx="1376381" cy="14265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517380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Orange We Here Map Pointer Icon Stock Illustration 273828068 ...">
            <a:extLst>
              <a:ext uri="{FF2B5EF4-FFF2-40B4-BE49-F238E27FC236}">
                <a16:creationId xmlns:a16="http://schemas.microsoft.com/office/drawing/2014/main" id="{1B3CEAAD-96D5-8F53-9B5C-A9714FB92A8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313" t="8303" r="16313" b="29374"/>
          <a:stretch/>
        </p:blipFill>
        <p:spPr bwMode="auto">
          <a:xfrm>
            <a:off x="2490425" y="3248161"/>
            <a:ext cx="1390650" cy="1385388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Segnaposto testo verticale 4">
            <a:extLst>
              <a:ext uri="{FF2B5EF4-FFF2-40B4-BE49-F238E27FC236}">
                <a16:creationId xmlns:a16="http://schemas.microsoft.com/office/drawing/2014/main" id="{8C1CCD15-CE55-25CE-0DFA-2EE2E838648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60530" y="1582231"/>
            <a:ext cx="7238993" cy="46334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indent="0" defTabSz="71912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  <a:defRPr sz="3000">
                <a:solidFill>
                  <a:schemeClr val="accent2"/>
                </a:solidFill>
              </a:defRPr>
            </a:lvl1pPr>
            <a:lvl2pPr marL="217483" indent="0" defTabSz="71912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i="0"/>
            </a:lvl2pPr>
            <a:lvl3pPr marL="0" indent="0" defTabSz="71912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0070C0"/>
              </a:buClr>
              <a:buSzPct val="85000"/>
              <a:buFont typeface="Arial" panose="020B0604020202020204" pitchFamily="34" charset="0"/>
              <a:buNone/>
              <a:defRPr i="0"/>
            </a:lvl3pPr>
            <a:lvl4pPr marL="0" indent="0" defTabSz="71912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b="1" cap="none" spc="31" baseline="0">
                <a:latin typeface="+mj-lt"/>
                <a:cs typeface="Calibri" panose="020F0502020204030204" pitchFamily="34" charset="0"/>
              </a:defRPr>
            </a:lvl4pPr>
            <a:lvl5pPr marL="271456" indent="-271456" defTabSz="71912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+mj-lt"/>
              <a:buAutoNum type="arabicPeriod"/>
              <a:defRPr i="0"/>
            </a:lvl5pPr>
            <a:lvl6pPr marL="217483" indent="-217483" defTabSz="914377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•"/>
              <a:defRPr b="0" i="0"/>
            </a:lvl6pPr>
            <a:lvl7pPr marL="471476" indent="-253994" defTabSz="914377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b="0" i="0"/>
            </a:lvl7pPr>
            <a:lvl8pPr marL="0" indent="0" defTabSz="914377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</a:lvl8pPr>
            <a:lvl9pPr marL="0" indent="0" defTabSz="914377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b="0">
                <a:latin typeface="+mj-lt"/>
              </a:defRPr>
            </a:lvl9pPr>
          </a:lstStyle>
          <a:p>
            <a:pPr marL="0" marR="0" lvl="0" indent="0" algn="l" defTabSz="71912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065BAA"/>
              </a:buClr>
              <a:buSzPct val="110000"/>
              <a:buFont typeface="Segoe UI Light" panose="020B0502040204020203" pitchFamily="34" charset="0"/>
              <a:buNone/>
              <a:tabLst/>
              <a:defRPr/>
            </a:pPr>
            <a:r>
              <a:rPr kumimoji="0" lang="it-IT" alt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065BAA"/>
                </a:solidFill>
                <a:effectLst/>
                <a:uLnTx/>
                <a:uFillTx/>
                <a:latin typeface="Source Sans Pro" panose="020B0503030403020204" pitchFamily="34" charset="0"/>
                <a:cs typeface="Calibri Light" panose="020F0302020204030204" pitchFamily="34" charset="0"/>
              </a:rPr>
              <a:t>Introduzione a CRM: </a:t>
            </a:r>
            <a:r>
              <a:rPr kumimoji="0" lang="it-IT" altLang="it-IT" sz="1800" i="0" u="none" strike="noStrike" kern="1200" cap="none" spc="0" normalizeH="0" baseline="0" noProof="0" dirty="0">
                <a:ln>
                  <a:noFill/>
                </a:ln>
                <a:solidFill>
                  <a:srgbClr val="065BAA"/>
                </a:solidFill>
                <a:effectLst/>
                <a:uLnTx/>
                <a:uFillTx/>
                <a:latin typeface="Source Sans Pro" panose="020B0503030403020204" pitchFamily="34" charset="0"/>
                <a:cs typeface="Calibri Light" panose="020F0302020204030204" pitchFamily="34" charset="0"/>
              </a:rPr>
              <a:t>di cosa si tratta, descrizione e obiettivi</a:t>
            </a:r>
          </a:p>
          <a:p>
            <a:pPr>
              <a:buClr>
                <a:srgbClr val="065BAA"/>
              </a:buClr>
              <a:defRPr/>
            </a:pPr>
            <a:r>
              <a:rPr lang="it-IT" altLang="it-IT" sz="1800" b="1" dirty="0">
                <a:solidFill>
                  <a:srgbClr val="065BAA"/>
                </a:solidFill>
                <a:latin typeface="Source Sans Pro" panose="020B0503030403020204" pitchFamily="34" charset="0"/>
                <a:cs typeface="Calibri Light" panose="020F0302020204030204" pitchFamily="34" charset="0"/>
              </a:rPr>
              <a:t>Guida alla navigazione</a:t>
            </a:r>
          </a:p>
          <a:p>
            <a:pPr>
              <a:buClr>
                <a:srgbClr val="065BAA"/>
              </a:buClr>
              <a:defRPr/>
            </a:pPr>
            <a:r>
              <a:rPr kumimoji="0" lang="it-IT" alt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065BAA"/>
                </a:solidFill>
                <a:effectLst/>
                <a:uLnTx/>
                <a:uFillTx/>
                <a:latin typeface="Source Sans Pro" panose="020B0503030403020204" pitchFamily="34" charset="0"/>
                <a:cs typeface="Calibri Light" panose="020F0302020204030204" pitchFamily="34" charset="0"/>
              </a:rPr>
              <a:t>Creare un </a:t>
            </a:r>
            <a:r>
              <a:rPr lang="it-IT" altLang="it-IT" sz="1800" b="1" dirty="0">
                <a:solidFill>
                  <a:srgbClr val="065BAA"/>
                </a:solidFill>
                <a:latin typeface="Source Sans Pro" panose="020B0503030403020204" pitchFamily="34" charset="0"/>
                <a:cs typeface="Calibri Light" panose="020F0302020204030204" pitchFamily="34" charset="0"/>
              </a:rPr>
              <a:t>contatto in modo rapido e </a:t>
            </a:r>
            <a:r>
              <a:rPr kumimoji="0" lang="it-IT" alt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065BAA"/>
                </a:solidFill>
                <a:effectLst/>
                <a:uLnTx/>
                <a:uFillTx/>
                <a:latin typeface="Source Sans Pro" panose="020B0503030403020204" pitchFamily="34" charset="0"/>
                <a:cs typeface="Calibri Light" panose="020F0302020204030204" pitchFamily="34" charset="0"/>
              </a:rPr>
              <a:t>GDPR </a:t>
            </a:r>
            <a:r>
              <a:rPr kumimoji="0" lang="en-GB" altLang="it-IT" sz="1800" b="1" i="0" u="none" strike="noStrike" kern="1200" cap="none" spc="0" normalizeH="0" baseline="0" dirty="0">
                <a:ln>
                  <a:noFill/>
                </a:ln>
                <a:solidFill>
                  <a:srgbClr val="065BAA"/>
                </a:solidFill>
                <a:effectLst/>
                <a:uLnTx/>
                <a:uFillTx/>
                <a:latin typeface="Source Sans Pro" panose="020B0503030403020204" pitchFamily="34" charset="0"/>
                <a:cs typeface="Calibri Light" panose="020F0302020204030204" pitchFamily="34" charset="0"/>
              </a:rPr>
              <a:t>compliant</a:t>
            </a:r>
          </a:p>
          <a:p>
            <a:pPr>
              <a:buClr>
                <a:srgbClr val="065BAA"/>
              </a:buClr>
              <a:defRPr/>
            </a:pPr>
            <a:r>
              <a:rPr kumimoji="0" lang="it-IT" alt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065BAA"/>
                </a:solidFill>
                <a:effectLst/>
                <a:uLnTx/>
                <a:uFillTx/>
                <a:latin typeface="Source Sans Pro" panose="020B0503030403020204" pitchFamily="34" charset="0"/>
                <a:cs typeface="Calibri Light" panose="020F0302020204030204" pitchFamily="34" charset="0"/>
              </a:rPr>
              <a:t>Creare un account ed una visita legata ad </a:t>
            </a:r>
            <a:r>
              <a:rPr kumimoji="0" lang="en-GB" altLang="it-IT" sz="1800" b="1" i="0" u="none" strike="noStrike" kern="1200" cap="none" spc="0" normalizeH="0" baseline="0" dirty="0">
                <a:ln>
                  <a:noFill/>
                </a:ln>
                <a:solidFill>
                  <a:srgbClr val="065BAA"/>
                </a:solidFill>
                <a:effectLst/>
                <a:uLnTx/>
                <a:uFillTx/>
                <a:latin typeface="Source Sans Pro" panose="020B0503030403020204" pitchFamily="34" charset="0"/>
                <a:cs typeface="Calibri Light" panose="020F0302020204030204" pitchFamily="34" charset="0"/>
              </a:rPr>
              <a:t>outlook calendar</a:t>
            </a:r>
            <a:endParaRPr lang="it-IT" altLang="it-IT" sz="1800" b="1" dirty="0">
              <a:solidFill>
                <a:srgbClr val="065BAA"/>
              </a:solidFill>
              <a:latin typeface="Source Sans Pro" panose="020B0503030403020204" pitchFamily="34" charset="0"/>
              <a:cs typeface="Calibri Light" panose="020F0302020204030204" pitchFamily="34" charset="0"/>
            </a:endParaRPr>
          </a:p>
          <a:p>
            <a:pPr>
              <a:buClr>
                <a:srgbClr val="065BAA"/>
              </a:buClr>
              <a:defRPr/>
            </a:pPr>
            <a:endParaRPr kumimoji="0" lang="it-IT" altLang="it-IT" sz="1800" b="1" i="0" strike="noStrike" kern="1200" cap="none" spc="0" normalizeH="0" baseline="0" noProof="0" dirty="0">
              <a:ln>
                <a:noFill/>
              </a:ln>
              <a:solidFill>
                <a:srgbClr val="065BAA"/>
              </a:solidFill>
              <a:effectLst/>
              <a:uLnTx/>
              <a:uFillTx/>
              <a:latin typeface="Source Sans Pro" panose="020B0503030403020204" pitchFamily="34" charset="0"/>
              <a:cs typeface="Calibri Light" panose="020F0302020204030204" pitchFamily="34" charset="0"/>
            </a:endParaRPr>
          </a:p>
          <a:p>
            <a:pPr>
              <a:buClr>
                <a:srgbClr val="065BAA"/>
              </a:buClr>
              <a:defRPr/>
            </a:pPr>
            <a:endParaRPr kumimoji="0" lang="it-IT" altLang="it-IT" sz="1800" b="1" i="0" u="none" strike="noStrike" kern="1200" cap="none" spc="0" normalizeH="0" baseline="0" noProof="0" dirty="0">
              <a:ln>
                <a:noFill/>
              </a:ln>
              <a:solidFill>
                <a:srgbClr val="065BAA"/>
              </a:solidFill>
              <a:effectLst/>
              <a:uLnTx/>
              <a:uFillTx/>
              <a:latin typeface="Source Sans Pro" panose="020B0503030403020204" pitchFamily="34" charset="0"/>
              <a:cs typeface="Calibri Light" panose="020F0302020204030204" pitchFamily="34" charset="0"/>
            </a:endParaRPr>
          </a:p>
          <a:p>
            <a:pPr marL="0" marR="0" lvl="0" indent="0" algn="l" defTabSz="71912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065BAA"/>
              </a:buClr>
              <a:buSzPct val="110000"/>
              <a:buFont typeface="Segoe UI Light" panose="020B0502040204020203" pitchFamily="34" charset="0"/>
              <a:buNone/>
              <a:tabLst/>
              <a:defRPr/>
            </a:pPr>
            <a:r>
              <a:rPr kumimoji="0" lang="it-IT" altLang="it-IT" sz="1800" b="1" i="0" strike="noStrike" kern="1200" cap="none" spc="0" normalizeH="0" baseline="0" noProof="0" dirty="0">
                <a:ln>
                  <a:noFill/>
                </a:ln>
                <a:solidFill>
                  <a:srgbClr val="065BAA"/>
                </a:solidFill>
                <a:effectLst/>
                <a:uLnTx/>
                <a:uFillTx/>
                <a:latin typeface="Source Sans Pro" panose="020B0503030403020204" pitchFamily="34" charset="0"/>
                <a:cs typeface="Calibri Light" panose="020F0302020204030204" pitchFamily="34" charset="0"/>
              </a:rPr>
              <a:t>Creare una Dashboard CRM e consultare Power BI</a:t>
            </a:r>
          </a:p>
          <a:p>
            <a:pPr marL="0" marR="0" lvl="0" indent="0" algn="l" defTabSz="71912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065BAA"/>
              </a:buClr>
              <a:buSzPct val="110000"/>
              <a:buFont typeface="Segoe UI Light" panose="020B0502040204020203" pitchFamily="34" charset="0"/>
              <a:buNone/>
              <a:tabLst/>
              <a:defRPr/>
            </a:pPr>
            <a:endParaRPr kumimoji="0" lang="it-IT" altLang="it-IT" sz="1800" b="1" i="0" strike="noStrike" kern="1200" cap="none" spc="0" normalizeH="0" baseline="0" noProof="0" dirty="0">
              <a:ln>
                <a:noFill/>
              </a:ln>
              <a:solidFill>
                <a:srgbClr val="065BAA"/>
              </a:solidFill>
              <a:effectLst/>
              <a:uLnTx/>
              <a:uFillTx/>
              <a:latin typeface="Source Sans Pro" panose="020B0503030403020204" pitchFamily="34" charset="0"/>
              <a:cs typeface="Calibri Light" panose="020F0302020204030204" pitchFamily="34" charset="0"/>
            </a:endParaRPr>
          </a:p>
          <a:p>
            <a:pPr marL="0" marR="0" lvl="0" indent="0" algn="l" defTabSz="71912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065BAA"/>
              </a:buClr>
              <a:buSzPct val="110000"/>
              <a:buFont typeface="Segoe UI Light" panose="020B0502040204020203" pitchFamily="34" charset="0"/>
              <a:buNone/>
              <a:tabLst/>
              <a:defRPr/>
            </a:pPr>
            <a:endParaRPr kumimoji="0" lang="it-IT" altLang="it-IT" sz="1800" b="1" i="0" strike="noStrike" kern="1200" cap="none" spc="0" normalizeH="0" baseline="0" noProof="0" dirty="0">
              <a:ln>
                <a:noFill/>
              </a:ln>
              <a:solidFill>
                <a:srgbClr val="065BAA"/>
              </a:solidFill>
              <a:effectLst/>
              <a:uLnTx/>
              <a:uFillTx/>
              <a:latin typeface="Source Sans Pro" panose="020B0503030403020204" pitchFamily="34" charset="0"/>
              <a:cs typeface="Calibri Light" panose="020F0302020204030204" pitchFamily="34" charset="0"/>
            </a:endParaRPr>
          </a:p>
          <a:p>
            <a:pPr marL="0" marR="0" lvl="0" indent="0" algn="l" defTabSz="71912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065BAA"/>
              </a:buClr>
              <a:buSzPct val="110000"/>
              <a:buFont typeface="Segoe UI Light" panose="020B0502040204020203" pitchFamily="34" charset="0"/>
              <a:buNone/>
              <a:tabLst/>
              <a:defRPr/>
            </a:pPr>
            <a:r>
              <a:rPr kumimoji="0" lang="it-IT" altLang="it-IT" sz="1800" b="1" i="0" strike="noStrike" kern="1200" cap="none" spc="0" normalizeH="0" baseline="0" noProof="0" dirty="0">
                <a:ln>
                  <a:noFill/>
                </a:ln>
                <a:solidFill>
                  <a:srgbClr val="065BAA"/>
                </a:solidFill>
                <a:effectLst/>
                <a:uLnTx/>
                <a:uFillTx/>
                <a:latin typeface="Source Sans Pro" panose="020B0503030403020204" pitchFamily="34" charset="0"/>
                <a:cs typeface="Calibri Light" panose="020F0302020204030204" pitchFamily="34" charset="0"/>
              </a:rPr>
              <a:t>Prossimi approfondimenti</a:t>
            </a:r>
          </a:p>
          <a:p>
            <a:pPr marL="171450" marR="0" lvl="0" indent="-171450" algn="l" defTabSz="71912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065BAA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lang="it-IT" altLang="it-IT" sz="1800" dirty="0">
                <a:solidFill>
                  <a:srgbClr val="065BAA"/>
                </a:solidFill>
                <a:latin typeface="Source Sans Pro" panose="020B0503030403020204" pitchFamily="34" charset="0"/>
                <a:cs typeface="Calibri Light" panose="020F0302020204030204" pitchFamily="34" charset="0"/>
              </a:rPr>
              <a:t>14/12  - Opportunità e offerte (Engineering team e sales)</a:t>
            </a:r>
          </a:p>
          <a:p>
            <a:pPr marL="171450" marR="0" lvl="0" indent="-171450" algn="l" defTabSz="71912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065BAA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lang="it-IT" altLang="it-IT" sz="1800" dirty="0">
                <a:solidFill>
                  <a:srgbClr val="065BAA"/>
                </a:solidFill>
                <a:latin typeface="Source Sans Pro" panose="020B0503030403020204" pitchFamily="34" charset="0"/>
                <a:cs typeface="Calibri Light" panose="020F0302020204030204" pitchFamily="34" charset="0"/>
              </a:rPr>
              <a:t>16/12 – Approfondimento App Dynamics 365 Sales</a:t>
            </a:r>
            <a:endParaRPr kumimoji="0" lang="it-IT" altLang="it-IT" sz="1800" i="0" u="none" strike="noStrike" kern="1200" cap="none" spc="0" normalizeH="0" baseline="0" noProof="0" dirty="0">
              <a:ln>
                <a:noFill/>
              </a:ln>
              <a:solidFill>
                <a:srgbClr val="065BAA"/>
              </a:solidFill>
              <a:effectLst/>
              <a:uLnTx/>
              <a:uFillTx/>
              <a:latin typeface="Source Sans Pro" panose="020B0503030403020204" pitchFamily="34" charset="0"/>
              <a:cs typeface="Calibri Light" panose="020F0302020204030204" pitchFamily="34" charset="0"/>
            </a:endParaRP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DC38CE42-0E25-A85D-A6DB-A821EC02C90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contrast="-20000"/>
                    </a14:imgEffect>
                  </a14:imgLayer>
                </a14:imgProps>
              </a:ext>
            </a:extLst>
          </a:blip>
          <a:srcRect l="16274" t="16809" r="19699" b="50000"/>
          <a:stretch/>
        </p:blipFill>
        <p:spPr>
          <a:xfrm>
            <a:off x="2297204" y="4956968"/>
            <a:ext cx="1777092" cy="921225"/>
          </a:xfrm>
          <a:prstGeom prst="rect">
            <a:avLst/>
          </a:prstGeom>
        </p:spPr>
      </p:pic>
      <p:sp>
        <p:nvSpPr>
          <p:cNvPr id="9" name="Titolo 1">
            <a:extLst>
              <a:ext uri="{FF2B5EF4-FFF2-40B4-BE49-F238E27FC236}">
                <a16:creationId xmlns:a16="http://schemas.microsoft.com/office/drawing/2014/main" id="{198A9FC1-59A4-0258-1C1A-4F3BDA1A6E99}"/>
              </a:ext>
            </a:extLst>
          </p:cNvPr>
          <p:cNvSpPr txBox="1">
            <a:spLocks/>
          </p:cNvSpPr>
          <p:nvPr/>
        </p:nvSpPr>
        <p:spPr>
          <a:xfrm>
            <a:off x="510555" y="257825"/>
            <a:ext cx="10653443" cy="38724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it-IT" altLang="it-IT" b="1" i="0" u="none" strike="noStrike" kern="1200" cap="none" spc="0" normalizeH="0" baseline="0" noProof="0" dirty="0">
                <a:ln>
                  <a:noFill/>
                </a:ln>
                <a:solidFill>
                  <a:srgbClr val="065BAA"/>
                </a:solidFill>
                <a:effectLst/>
                <a:uLnTx/>
                <a:uFillTx/>
                <a:latin typeface="Source Sans Pro" panose="020B0503030403020204" pitchFamily="34" charset="0"/>
              </a:rPr>
              <a:t>Obiettivo S</a:t>
            </a:r>
            <a:r>
              <a:rPr kumimoji="0" lang="en-AU" altLang="it-IT" b="1" i="0" u="none" strike="noStrike" kern="1200" cap="none" spc="0" normalizeH="0" baseline="0" noProof="0" dirty="0">
                <a:ln>
                  <a:noFill/>
                </a:ln>
                <a:solidFill>
                  <a:srgbClr val="065BAA"/>
                </a:solidFill>
                <a:effectLst/>
                <a:uLnTx/>
                <a:uFillTx/>
                <a:latin typeface="Source Sans Pro" panose="020B0503030403020204" pitchFamily="34" charset="0"/>
              </a:rPr>
              <a:t>&amp;M: </a:t>
            </a:r>
            <a:r>
              <a:rPr kumimoji="0" lang="it-IT" altLang="it-IT" b="1" i="0" u="none" strike="noStrike" kern="1200" cap="none" spc="0" normalizeH="0" baseline="0" dirty="0">
                <a:ln>
                  <a:noFill/>
                </a:ln>
                <a:solidFill>
                  <a:srgbClr val="065BAA"/>
                </a:solidFill>
                <a:effectLst/>
                <a:uLnTx/>
                <a:uFillTx/>
                <a:latin typeface="Source Sans Pro" panose="020B0503030403020204" pitchFamily="34" charset="0"/>
              </a:rPr>
              <a:t>aumentare utilizzo </a:t>
            </a:r>
            <a:r>
              <a:rPr kumimoji="0" lang="en-AU" altLang="it-IT" b="1" i="0" u="none" strike="noStrike" kern="1200" cap="none" spc="0" normalizeH="0" baseline="0" noProof="0" dirty="0">
                <a:ln>
                  <a:noFill/>
                </a:ln>
                <a:solidFill>
                  <a:srgbClr val="065BAA"/>
                </a:solidFill>
                <a:effectLst/>
                <a:uLnTx/>
                <a:uFillTx/>
                <a:latin typeface="Source Sans Pro" panose="020B0503030403020204" pitchFamily="34" charset="0"/>
              </a:rPr>
              <a:t>pre-sales/sales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b="1" i="0" u="none" strike="noStrike" kern="1200" cap="none" spc="0" normalizeH="0" baseline="0" noProof="0" dirty="0">
              <a:ln>
                <a:noFill/>
              </a:ln>
              <a:solidFill>
                <a:srgbClr val="065BAA"/>
              </a:solidFill>
              <a:effectLst/>
              <a:uLnTx/>
              <a:uFillTx/>
              <a:latin typeface="Source Sans Pro" panose="020B0503030403020204" pitchFamily="34" charset="0"/>
            </a:endParaRPr>
          </a:p>
        </p:txBody>
      </p:sp>
      <p:sp>
        <p:nvSpPr>
          <p:cNvPr id="10" name="Segnaposto testo verticale 4">
            <a:extLst>
              <a:ext uri="{FF2B5EF4-FFF2-40B4-BE49-F238E27FC236}">
                <a16:creationId xmlns:a16="http://schemas.microsoft.com/office/drawing/2014/main" id="{12368366-BDA4-A9B7-2CB1-B9C719AD796B}"/>
              </a:ext>
            </a:extLst>
          </p:cNvPr>
          <p:cNvSpPr txBox="1">
            <a:spLocks/>
          </p:cNvSpPr>
          <p:nvPr/>
        </p:nvSpPr>
        <p:spPr>
          <a:xfrm>
            <a:off x="510512" y="642337"/>
            <a:ext cx="10653443" cy="3845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  <a:defRPr sz="3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17483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0070C0"/>
              </a:buClr>
              <a:buSzPct val="85000"/>
              <a:buFont typeface="Arial" panose="020B0604020202020204" pitchFamily="34" charset="0"/>
              <a:buNone/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 cap="none" spc="31" baseline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271456" indent="-271456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+mj-lt"/>
              <a:buAutoNum type="arabicPeriod"/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7483" indent="-217483" algn="l" defTabSz="914377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71476" indent="-253994" algn="l" defTabSz="914377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71912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065BAA"/>
              </a:buClr>
              <a:buSzPct val="110000"/>
              <a:buFont typeface="Segoe UI Light" panose="020B0502040204020203" pitchFamily="34" charset="0"/>
              <a:buNone/>
              <a:tabLst/>
              <a:defRPr/>
            </a:pPr>
            <a:r>
              <a:rPr lang="it-IT" dirty="0">
                <a:solidFill>
                  <a:srgbClr val="065BAA"/>
                </a:solidFill>
                <a:latin typeface="Source Sans Pro" panose="020B0503030403020204" pitchFamily="34" charset="0"/>
              </a:rPr>
              <a:t>Training agli utenti</a:t>
            </a:r>
            <a:endParaRPr kumimoji="0" lang="en-AU" b="0" i="0" u="none" strike="noStrike" kern="1200" cap="none" spc="0" normalizeH="0" baseline="0" noProof="0" dirty="0">
              <a:ln>
                <a:noFill/>
              </a:ln>
              <a:solidFill>
                <a:srgbClr val="065BAA"/>
              </a:solidFill>
              <a:effectLst/>
              <a:uLnTx/>
              <a:uFillTx/>
              <a:latin typeface="Source Sans Pro" panose="020B0503030403020204" pitchFamily="34" charset="0"/>
            </a:endParaRPr>
          </a:p>
        </p:txBody>
      </p:sp>
      <p:pic>
        <p:nvPicPr>
          <p:cNvPr id="2" name="Picture 2" descr="Vettore computer back icon left jean victor arrow icons balin orange arrows  Gratis | AI, SVG ed EPS">
            <a:extLst>
              <a:ext uri="{FF2B5EF4-FFF2-40B4-BE49-F238E27FC236}">
                <a16:creationId xmlns:a16="http://schemas.microsoft.com/office/drawing/2014/main" id="{BC1AAB81-DADD-EAA6-4176-BB2757A1831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47" t="31539" r="49192" b="31945"/>
          <a:stretch/>
        </p:blipFill>
        <p:spPr bwMode="auto">
          <a:xfrm>
            <a:off x="2297204" y="1268628"/>
            <a:ext cx="1777093" cy="1085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11998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egnaposto testo verticale 4">
            <a:extLst>
              <a:ext uri="{FF2B5EF4-FFF2-40B4-BE49-F238E27FC236}">
                <a16:creationId xmlns:a16="http://schemas.microsoft.com/office/drawing/2014/main" id="{875E10E7-0429-689F-E7B4-6EC2B2129180}"/>
              </a:ext>
            </a:extLst>
          </p:cNvPr>
          <p:cNvSpPr txBox="1">
            <a:spLocks/>
          </p:cNvSpPr>
          <p:nvPr/>
        </p:nvSpPr>
        <p:spPr>
          <a:xfrm>
            <a:off x="510512" y="642337"/>
            <a:ext cx="10653443" cy="3845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  <a:defRPr sz="3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17483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0070C0"/>
              </a:buClr>
              <a:buSzPct val="85000"/>
              <a:buFont typeface="Arial" panose="020B0604020202020204" pitchFamily="34" charset="0"/>
              <a:buNone/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 cap="none" spc="31" baseline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271456" indent="-271456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+mj-lt"/>
              <a:buAutoNum type="arabicPeriod"/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7483" indent="-217483" algn="l" defTabSz="914377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71476" indent="-253994" algn="l" defTabSz="914377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71912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065BAA"/>
              </a:buClr>
              <a:buSzPct val="110000"/>
              <a:buFont typeface="Segoe UI Light" panose="020B0502040204020203" pitchFamily="34" charset="0"/>
              <a:buNone/>
              <a:tabLst/>
              <a:defRPr/>
            </a:pPr>
            <a:r>
              <a:rPr kumimoji="0" lang="it-IT" sz="3000" b="0" i="0" u="none" strike="noStrike" kern="1200" cap="none" spc="0" normalizeH="0" baseline="0" noProof="0" dirty="0">
                <a:ln>
                  <a:noFill/>
                </a:ln>
                <a:solidFill>
                  <a:srgbClr val="065BAA"/>
                </a:solidFill>
                <a:effectLst/>
                <a:uLnTx/>
                <a:uFillTx/>
                <a:latin typeface="Source Sans Pro" panose="020B0503030403020204" pitchFamily="34" charset="0"/>
              </a:rPr>
              <a:t>Q&amp;A</a:t>
            </a:r>
          </a:p>
        </p:txBody>
      </p:sp>
      <p:sp>
        <p:nvSpPr>
          <p:cNvPr id="9" name="Titolo 1">
            <a:extLst>
              <a:ext uri="{FF2B5EF4-FFF2-40B4-BE49-F238E27FC236}">
                <a16:creationId xmlns:a16="http://schemas.microsoft.com/office/drawing/2014/main" id="{DABBFC26-51DE-C680-F967-EB5209DA7175}"/>
              </a:ext>
            </a:extLst>
          </p:cNvPr>
          <p:cNvSpPr txBox="1">
            <a:spLocks/>
          </p:cNvSpPr>
          <p:nvPr/>
        </p:nvSpPr>
        <p:spPr>
          <a:xfrm>
            <a:off x="510512" y="255090"/>
            <a:ext cx="10653443" cy="38724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000" b="1" i="0" u="none" strike="noStrike" kern="1200" cap="none" spc="0" normalizeH="0" baseline="0" noProof="0" dirty="0">
                <a:ln>
                  <a:noFill/>
                </a:ln>
                <a:solidFill>
                  <a:srgbClr val="065BAA"/>
                </a:solidFill>
                <a:effectLst/>
                <a:uLnTx/>
                <a:uFillTx/>
                <a:latin typeface="Source Sans Pro" panose="020B0503030403020204" pitchFamily="34" charset="0"/>
              </a:rPr>
              <a:t>CRM</a:t>
            </a:r>
          </a:p>
        </p:txBody>
      </p:sp>
      <p:sp>
        <p:nvSpPr>
          <p:cNvPr id="5" name="Vertical Text Placeholder 2">
            <a:extLst>
              <a:ext uri="{FF2B5EF4-FFF2-40B4-BE49-F238E27FC236}">
                <a16:creationId xmlns:a16="http://schemas.microsoft.com/office/drawing/2014/main" id="{6A248172-5E8A-E3D9-1D2A-8CFDD27D777C}"/>
              </a:ext>
            </a:extLst>
          </p:cNvPr>
          <p:cNvSpPr txBox="1">
            <a:spLocks/>
          </p:cNvSpPr>
          <p:nvPr/>
        </p:nvSpPr>
        <p:spPr>
          <a:xfrm>
            <a:off x="510512" y="1379545"/>
            <a:ext cx="11054472" cy="140221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17488" indent="-217488" algn="l" defTabSz="719138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1488" indent="-254000" algn="l" defTabSz="719138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719138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0070C0"/>
              </a:buClr>
              <a:buSzPct val="85000"/>
              <a:buFont typeface="Arial" panose="020B0604020202020204" pitchFamily="34" charset="0"/>
              <a:buNone/>
              <a:defRPr sz="16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719138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 cap="none" spc="30" baseline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271463" indent="-271463" algn="l" defTabSz="719138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+mj-lt"/>
              <a:buAutoNum type="arabicPeriod"/>
              <a:defRPr sz="16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7488" indent="-217488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71488" indent="-254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buClr>
                <a:srgbClr val="065BAA"/>
              </a:buClr>
              <a:buNone/>
              <a:defRPr/>
            </a:pPr>
            <a:r>
              <a:rPr lang="it-IT" u="sng" dirty="0">
                <a:solidFill>
                  <a:prstClr val="black"/>
                </a:solidFill>
                <a:latin typeface="Source Sans Pro"/>
              </a:rPr>
              <a:t>NAVIGAZIONE CRM</a:t>
            </a:r>
          </a:p>
          <a:p>
            <a:pPr>
              <a:buClr>
                <a:srgbClr val="065BAA"/>
              </a:buClr>
              <a:defRPr/>
            </a:pPr>
            <a:r>
              <a:rPr lang="it-IT" dirty="0">
                <a:solidFill>
                  <a:prstClr val="black"/>
                </a:solidFill>
                <a:latin typeface="Source Sans Pro"/>
              </a:rPr>
              <a:t>Navigare all’interno delle App disponibili</a:t>
            </a:r>
          </a:p>
          <a:p>
            <a:pPr>
              <a:buClr>
                <a:srgbClr val="065BAA"/>
              </a:buClr>
              <a:defRPr/>
            </a:pPr>
            <a:r>
              <a:rPr lang="it-IT" dirty="0">
                <a:solidFill>
                  <a:prstClr val="black"/>
                </a:solidFill>
                <a:latin typeface="Source Sans Pro"/>
              </a:rPr>
              <a:t>Ricercare un cliente</a:t>
            </a:r>
          </a:p>
          <a:p>
            <a:pPr>
              <a:buClr>
                <a:srgbClr val="065BAA"/>
              </a:buClr>
              <a:defRPr/>
            </a:pPr>
            <a:r>
              <a:rPr lang="it-IT" dirty="0">
                <a:solidFill>
                  <a:prstClr val="black"/>
                </a:solidFill>
                <a:latin typeface="Source Sans Pro"/>
              </a:rPr>
              <a:t>Creare viste personalizzate</a:t>
            </a:r>
          </a:p>
        </p:txBody>
      </p:sp>
      <p:sp>
        <p:nvSpPr>
          <p:cNvPr id="6" name="Vertical Text Placeholder 2">
            <a:extLst>
              <a:ext uri="{FF2B5EF4-FFF2-40B4-BE49-F238E27FC236}">
                <a16:creationId xmlns:a16="http://schemas.microsoft.com/office/drawing/2014/main" id="{6A2A4283-AF69-58A7-AC22-E63AC2EE1297}"/>
              </a:ext>
            </a:extLst>
          </p:cNvPr>
          <p:cNvSpPr txBox="1">
            <a:spLocks/>
          </p:cNvSpPr>
          <p:nvPr/>
        </p:nvSpPr>
        <p:spPr>
          <a:xfrm>
            <a:off x="510512" y="3077990"/>
            <a:ext cx="11054472" cy="140221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17488" indent="-217488" algn="l" defTabSz="719138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1488" indent="-254000" algn="l" defTabSz="719138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719138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0070C0"/>
              </a:buClr>
              <a:buSzPct val="85000"/>
              <a:buFont typeface="Arial" panose="020B0604020202020204" pitchFamily="34" charset="0"/>
              <a:buNone/>
              <a:defRPr sz="16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719138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 cap="none" spc="30" baseline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271463" indent="-271463" algn="l" defTabSz="719138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+mj-lt"/>
              <a:buAutoNum type="arabicPeriod"/>
              <a:defRPr sz="16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7488" indent="-217488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71488" indent="-254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buClr>
                <a:srgbClr val="065BAA"/>
              </a:buClr>
              <a:buNone/>
              <a:defRPr/>
            </a:pPr>
            <a:r>
              <a:rPr lang="it-IT" u="sng" dirty="0">
                <a:solidFill>
                  <a:prstClr val="black"/>
                </a:solidFill>
                <a:latin typeface="Source Sans Pro"/>
              </a:rPr>
              <a:t>CREARE UN CONTATTO GDPR COMPLIANT</a:t>
            </a:r>
          </a:p>
          <a:p>
            <a:pPr>
              <a:buClr>
                <a:srgbClr val="065BAA"/>
              </a:buClr>
              <a:defRPr/>
            </a:pPr>
            <a:r>
              <a:rPr lang="it-IT" dirty="0">
                <a:solidFill>
                  <a:prstClr val="black"/>
                </a:solidFill>
                <a:latin typeface="Source Sans Pro"/>
              </a:rPr>
              <a:t>Creazione di un contatto da biglietto da visita</a:t>
            </a:r>
          </a:p>
          <a:p>
            <a:pPr>
              <a:buClr>
                <a:srgbClr val="065BAA"/>
              </a:buClr>
              <a:defRPr/>
            </a:pPr>
            <a:r>
              <a:rPr lang="it-IT" dirty="0">
                <a:solidFill>
                  <a:prstClr val="black"/>
                </a:solidFill>
                <a:latin typeface="Source Sans Pro"/>
              </a:rPr>
              <a:t>Invio frase precompilata e gestione dei consensi</a:t>
            </a:r>
          </a:p>
          <a:p>
            <a:pPr>
              <a:buClr>
                <a:srgbClr val="065BAA"/>
              </a:buClr>
              <a:defRPr/>
            </a:pPr>
            <a:r>
              <a:rPr lang="it-IT" dirty="0">
                <a:solidFill>
                  <a:prstClr val="black"/>
                </a:solidFill>
                <a:latin typeface="Source Sans Pro"/>
              </a:rPr>
              <a:t>Invio e email da CRM e Outlook</a:t>
            </a:r>
          </a:p>
          <a:p>
            <a:pPr marL="0" indent="0">
              <a:buClr>
                <a:srgbClr val="065BAA"/>
              </a:buClr>
              <a:buNone/>
              <a:defRPr/>
            </a:pPr>
            <a:endParaRPr lang="it-IT" dirty="0">
              <a:solidFill>
                <a:prstClr val="black"/>
              </a:solidFill>
              <a:latin typeface="Source Sans Pro"/>
            </a:endParaRPr>
          </a:p>
        </p:txBody>
      </p:sp>
      <p:sp>
        <p:nvSpPr>
          <p:cNvPr id="2" name="Vertical Text Placeholder 2">
            <a:extLst>
              <a:ext uri="{FF2B5EF4-FFF2-40B4-BE49-F238E27FC236}">
                <a16:creationId xmlns:a16="http://schemas.microsoft.com/office/drawing/2014/main" id="{702ED10A-CE76-03AB-9235-8D81F55CD550}"/>
              </a:ext>
            </a:extLst>
          </p:cNvPr>
          <p:cNvSpPr txBox="1">
            <a:spLocks/>
          </p:cNvSpPr>
          <p:nvPr/>
        </p:nvSpPr>
        <p:spPr>
          <a:xfrm>
            <a:off x="510512" y="4776435"/>
            <a:ext cx="11054472" cy="140221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17488" indent="-217488" algn="l" defTabSz="719138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1488" indent="-254000" algn="l" defTabSz="719138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719138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0070C0"/>
              </a:buClr>
              <a:buSzPct val="85000"/>
              <a:buFont typeface="Arial" panose="020B0604020202020204" pitchFamily="34" charset="0"/>
              <a:buNone/>
              <a:defRPr sz="16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719138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 cap="none" spc="30" baseline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271463" indent="-271463" algn="l" defTabSz="719138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+mj-lt"/>
              <a:buAutoNum type="arabicPeriod"/>
              <a:defRPr sz="16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7488" indent="-217488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71488" indent="-254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indent="0">
              <a:buClr>
                <a:srgbClr val="065BAA"/>
              </a:buClr>
              <a:buNone/>
              <a:defRPr/>
            </a:pPr>
            <a:r>
              <a:rPr lang="it-IT" u="sng" dirty="0">
                <a:solidFill>
                  <a:prstClr val="black"/>
                </a:solidFill>
                <a:latin typeface="Source Sans Pro"/>
              </a:rPr>
              <a:t>CREARE UN ACCOUNT E UN APPUNTAMENTO</a:t>
            </a:r>
          </a:p>
          <a:p>
            <a:pPr>
              <a:buClr>
                <a:srgbClr val="065BAA"/>
              </a:buClr>
              <a:defRPr/>
            </a:pPr>
            <a:r>
              <a:rPr lang="it-IT" dirty="0">
                <a:solidFill>
                  <a:prstClr val="black"/>
                </a:solidFill>
                <a:latin typeface="Source Sans Pro"/>
              </a:rPr>
              <a:t>Creazione di un account</a:t>
            </a:r>
          </a:p>
          <a:p>
            <a:pPr>
              <a:buClr>
                <a:srgbClr val="065BAA"/>
              </a:buClr>
              <a:defRPr/>
            </a:pPr>
            <a:r>
              <a:rPr lang="it-IT" dirty="0">
                <a:solidFill>
                  <a:prstClr val="black"/>
                </a:solidFill>
                <a:latin typeface="Source Sans Pro"/>
              </a:rPr>
              <a:t>Creazione appuntamenti/visit reports</a:t>
            </a:r>
          </a:p>
        </p:txBody>
      </p:sp>
    </p:spTree>
    <p:extLst>
      <p:ext uri="{BB962C8B-B14F-4D97-AF65-F5344CB8AC3E}">
        <p14:creationId xmlns:p14="http://schemas.microsoft.com/office/powerpoint/2010/main" val="651016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sellaDiTesto 1">
            <a:extLst>
              <a:ext uri="{FF2B5EF4-FFF2-40B4-BE49-F238E27FC236}">
                <a16:creationId xmlns:a16="http://schemas.microsoft.com/office/drawing/2014/main" id="{7DD1B4BF-3020-0C3D-1F75-B4A76BB8AD7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9017" y="4140200"/>
            <a:ext cx="9793816" cy="6667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it-IT" altLang="it-IT" sz="3733" b="1" dirty="0">
                <a:solidFill>
                  <a:srgbClr val="FFFFFF"/>
                </a:solidFill>
                <a:latin typeface="Trebuchet MS" panose="020B0603020202020204" pitchFamily="34" charset="0"/>
              </a:rPr>
              <a:t>Creare una dashboard CRM</a:t>
            </a:r>
          </a:p>
        </p:txBody>
      </p:sp>
      <p:pic>
        <p:nvPicPr>
          <p:cNvPr id="2" name="Picture 2" descr="Vettore computer back icon left jean victor arrow icons balin orange arrows  Gratis | AI, SVG ed EPS">
            <a:extLst>
              <a:ext uri="{FF2B5EF4-FFF2-40B4-BE49-F238E27FC236}">
                <a16:creationId xmlns:a16="http://schemas.microsoft.com/office/drawing/2014/main" id="{37CC6B38-2A7B-5A3B-972F-DD7A6536177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33526" b="64451" l="11423" r="88778">
                        <a14:foregroundMark x1="11623" y1="48555" x2="11824" y2="52601"/>
                        <a14:foregroundMark x1="46894" y1="52601" x2="46894" y2="48555"/>
                        <a14:foregroundMark x1="37475" y1="64451" x2="37617" y2="64451"/>
                        <a14:foregroundMark x1="30261" y1="48266" x2="34870" y2="50289"/>
                        <a14:foregroundMark x1="37074" y1="44220" x2="45491" y2="50578"/>
                        <a14:foregroundMark x1="35671" y1="55491" x2="42084" y2="54624"/>
                        <a14:foregroundMark x1="39479" y1="54046" x2="35070" y2="48266"/>
                        <a14:foregroundMark x1="38541" y1="63103" x2="34870" y2="58960"/>
                        <a14:foregroundMark x1="18637" y1="47399" x2="33868" y2="52312"/>
                        <a14:foregroundMark x1="17635" y1="49422" x2="27655" y2="50867"/>
                        <a14:foregroundMark x1="20240" y1="55202" x2="18036" y2="47399"/>
                        <a14:foregroundMark x1="16834" y1="50578" x2="17034" y2="53757"/>
                        <a14:foregroundMark x1="56914" y1="42486" x2="81964" y2="49422"/>
                        <a14:foregroundMark x1="81964" y1="49422" x2="81964" y2="49422"/>
                        <a14:foregroundMark x1="53908" y1="47110" x2="65531" y2="51734"/>
                        <a14:foregroundMark x1="65531" y1="51734" x2="67936" y2="47399"/>
                        <a14:foregroundMark x1="54709" y1="51734" x2="62725" y2="51734"/>
                        <a14:foregroundMark x1="59519" y1="45954" x2="59319" y2="54913"/>
                        <a14:foregroundMark x1="61723" y1="47688" x2="66533" y2="48844"/>
                        <a14:foregroundMark x1="65932" y1="51734" x2="67335" y2="53179"/>
                        <a14:foregroundMark x1="81162" y1="43064" x2="85571" y2="56069"/>
                        <a14:foregroundMark x1="74549" y1="50578" x2="80160" y2="51445"/>
                        <a14:foregroundMark x1="86774" y1="49422" x2="88778" y2="49422"/>
                        <a14:backgroundMark x1="37275" y1="65318" x2="38878" y2="66185"/>
                        <a14:backgroundMark x1="37074" y1="65318" x2="37876" y2="65896"/>
                        <a14:backgroundMark x1="37876" y1="64740" x2="37876" y2="64740"/>
                        <a14:backgroundMark x1="37275" y1="65029" x2="37275" y2="65029"/>
                        <a14:backgroundMark x1="37275" y1="66185" x2="37275" y2="6618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0000" t="31539" r="8539" b="31945"/>
          <a:stretch/>
        </p:blipFill>
        <p:spPr bwMode="auto">
          <a:xfrm>
            <a:off x="599017" y="3054949"/>
            <a:ext cx="1777093" cy="1085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74694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magine 23">
            <a:extLst>
              <a:ext uri="{FF2B5EF4-FFF2-40B4-BE49-F238E27FC236}">
                <a16:creationId xmlns:a16="http://schemas.microsoft.com/office/drawing/2014/main" id="{5D10D882-4898-5DCE-8554-93C916E9751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52620"/>
          <a:stretch/>
        </p:blipFill>
        <p:spPr>
          <a:xfrm>
            <a:off x="5203914" y="501413"/>
            <a:ext cx="6648452" cy="2581421"/>
          </a:xfrm>
          <a:prstGeom prst="rect">
            <a:avLst/>
          </a:prstGeom>
        </p:spPr>
      </p:pic>
      <p:sp>
        <p:nvSpPr>
          <p:cNvPr id="2" name="Segnaposto testo verticale 4">
            <a:extLst>
              <a:ext uri="{FF2B5EF4-FFF2-40B4-BE49-F238E27FC236}">
                <a16:creationId xmlns:a16="http://schemas.microsoft.com/office/drawing/2014/main" id="{40825CB5-4D9B-738E-6212-0156CE294BFF}"/>
              </a:ext>
            </a:extLst>
          </p:cNvPr>
          <p:cNvSpPr txBox="1">
            <a:spLocks/>
          </p:cNvSpPr>
          <p:nvPr/>
        </p:nvSpPr>
        <p:spPr>
          <a:xfrm>
            <a:off x="510512" y="642337"/>
            <a:ext cx="10653443" cy="3845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  <a:defRPr sz="3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17483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0070C0"/>
              </a:buClr>
              <a:buSzPct val="85000"/>
              <a:buFont typeface="Arial" panose="020B0604020202020204" pitchFamily="34" charset="0"/>
              <a:buNone/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 cap="none" spc="31" baseline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271456" indent="-271456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+mj-lt"/>
              <a:buAutoNum type="arabicPeriod"/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7483" indent="-217483" algn="l" defTabSz="914377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71476" indent="-253994" algn="l" defTabSz="914377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71912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065BAA"/>
              </a:buClr>
              <a:buSzPct val="110000"/>
              <a:buFont typeface="Segoe UI Light" panose="020B0502040204020203" pitchFamily="34" charset="0"/>
              <a:buNone/>
              <a:tabLst/>
              <a:defRPr/>
            </a:pPr>
            <a:r>
              <a:rPr kumimoji="0" lang="it-IT" sz="3000" b="0" i="0" u="none" strike="noStrike" kern="1200" cap="none" spc="0" normalizeH="0" baseline="0" noProof="0" dirty="0">
                <a:ln>
                  <a:noFill/>
                </a:ln>
                <a:solidFill>
                  <a:srgbClr val="065BAA"/>
                </a:solidFill>
                <a:effectLst/>
                <a:uLnTx/>
                <a:uFillTx/>
                <a:latin typeface="Source Sans Pro" panose="020B0503030403020204" pitchFamily="34" charset="0"/>
              </a:rPr>
              <a:t>Dashboards CRM</a:t>
            </a:r>
          </a:p>
        </p:txBody>
      </p:sp>
      <p:sp>
        <p:nvSpPr>
          <p:cNvPr id="3" name="Titolo 1">
            <a:extLst>
              <a:ext uri="{FF2B5EF4-FFF2-40B4-BE49-F238E27FC236}">
                <a16:creationId xmlns:a16="http://schemas.microsoft.com/office/drawing/2014/main" id="{6C18FD20-F840-C9AF-1969-6269235008B7}"/>
              </a:ext>
            </a:extLst>
          </p:cNvPr>
          <p:cNvSpPr txBox="1">
            <a:spLocks/>
          </p:cNvSpPr>
          <p:nvPr/>
        </p:nvSpPr>
        <p:spPr>
          <a:xfrm>
            <a:off x="510512" y="255090"/>
            <a:ext cx="10653443" cy="38724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000" b="1" i="0" u="none" strike="noStrike" kern="1200" cap="none" spc="0" normalizeH="0" baseline="0" noProof="0" dirty="0">
                <a:ln>
                  <a:noFill/>
                </a:ln>
                <a:solidFill>
                  <a:srgbClr val="065BAA"/>
                </a:solidFill>
                <a:effectLst/>
                <a:uLnTx/>
                <a:uFillTx/>
                <a:latin typeface="Source Sans Pro" panose="020B0503030403020204" pitchFamily="34" charset="0"/>
              </a:rPr>
              <a:t>CRM</a:t>
            </a:r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1A10B4FF-A519-528D-782F-F7DFD7E14CA1}"/>
              </a:ext>
            </a:extLst>
          </p:cNvPr>
          <p:cNvSpPr/>
          <p:nvPr/>
        </p:nvSpPr>
        <p:spPr>
          <a:xfrm>
            <a:off x="5099453" y="1867555"/>
            <a:ext cx="1342712" cy="321346"/>
          </a:xfrm>
          <a:prstGeom prst="rect">
            <a:avLst/>
          </a:prstGeom>
          <a:noFill/>
          <a:ln w="28575" cap="flat" cmpd="sng" algn="ctr">
            <a:solidFill>
              <a:srgbClr val="339933">
                <a:alpha val="47843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7" name="Oval 7">
            <a:extLst>
              <a:ext uri="{FF2B5EF4-FFF2-40B4-BE49-F238E27FC236}">
                <a16:creationId xmlns:a16="http://schemas.microsoft.com/office/drawing/2014/main" id="{090C1CAE-E640-AF5E-658E-7302AF2B8171}"/>
              </a:ext>
            </a:extLst>
          </p:cNvPr>
          <p:cNvSpPr/>
          <p:nvPr/>
        </p:nvSpPr>
        <p:spPr>
          <a:xfrm>
            <a:off x="4991453" y="1920228"/>
            <a:ext cx="216000" cy="216000"/>
          </a:xfrm>
          <a:prstGeom prst="ellipse">
            <a:avLst/>
          </a:prstGeom>
          <a:solidFill>
            <a:srgbClr val="008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2</a:t>
            </a:r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196B3F70-C6CB-B0A9-7884-934235D5E431}"/>
              </a:ext>
            </a:extLst>
          </p:cNvPr>
          <p:cNvSpPr/>
          <p:nvPr/>
        </p:nvSpPr>
        <p:spPr>
          <a:xfrm>
            <a:off x="8863147" y="1021386"/>
            <a:ext cx="350521" cy="321346"/>
          </a:xfrm>
          <a:prstGeom prst="rect">
            <a:avLst/>
          </a:prstGeom>
          <a:noFill/>
          <a:ln w="28575" cap="flat" cmpd="sng" algn="ctr">
            <a:solidFill>
              <a:srgbClr val="339933">
                <a:alpha val="47843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9" name="Oval 9">
            <a:extLst>
              <a:ext uri="{FF2B5EF4-FFF2-40B4-BE49-F238E27FC236}">
                <a16:creationId xmlns:a16="http://schemas.microsoft.com/office/drawing/2014/main" id="{CB88C099-3108-C18B-3E85-E712D6880A5B}"/>
              </a:ext>
            </a:extLst>
          </p:cNvPr>
          <p:cNvSpPr/>
          <p:nvPr/>
        </p:nvSpPr>
        <p:spPr>
          <a:xfrm>
            <a:off x="8755147" y="1074059"/>
            <a:ext cx="216000" cy="216000"/>
          </a:xfrm>
          <a:prstGeom prst="ellipse">
            <a:avLst/>
          </a:prstGeom>
          <a:solidFill>
            <a:srgbClr val="008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3</a:t>
            </a:r>
          </a:p>
        </p:txBody>
      </p:sp>
      <p:sp>
        <p:nvSpPr>
          <p:cNvPr id="14" name="Rectangle 19">
            <a:extLst>
              <a:ext uri="{FF2B5EF4-FFF2-40B4-BE49-F238E27FC236}">
                <a16:creationId xmlns:a16="http://schemas.microsoft.com/office/drawing/2014/main" id="{E24048DD-B9F3-ACC1-D41C-260C0C865D6E}"/>
              </a:ext>
            </a:extLst>
          </p:cNvPr>
          <p:cNvSpPr/>
          <p:nvPr/>
        </p:nvSpPr>
        <p:spPr>
          <a:xfrm>
            <a:off x="6203999" y="477565"/>
            <a:ext cx="1000087" cy="321346"/>
          </a:xfrm>
          <a:prstGeom prst="rect">
            <a:avLst/>
          </a:prstGeom>
          <a:noFill/>
          <a:ln w="28575" cap="flat" cmpd="sng" algn="ctr">
            <a:solidFill>
              <a:srgbClr val="339933">
                <a:alpha val="47843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5" name="Oval 20">
            <a:extLst>
              <a:ext uri="{FF2B5EF4-FFF2-40B4-BE49-F238E27FC236}">
                <a16:creationId xmlns:a16="http://schemas.microsoft.com/office/drawing/2014/main" id="{1E15438D-1645-621A-8407-7DB369CB9FE5}"/>
              </a:ext>
            </a:extLst>
          </p:cNvPr>
          <p:cNvSpPr/>
          <p:nvPr/>
        </p:nvSpPr>
        <p:spPr>
          <a:xfrm>
            <a:off x="6096000" y="530238"/>
            <a:ext cx="216000" cy="216000"/>
          </a:xfrm>
          <a:prstGeom prst="ellipse">
            <a:avLst/>
          </a:prstGeom>
          <a:solidFill>
            <a:srgbClr val="008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kern="0" dirty="0">
                <a:solidFill>
                  <a:prstClr val="white"/>
                </a:solidFill>
                <a:latin typeface="Source Sans Pro"/>
              </a:rPr>
              <a:t>1</a:t>
            </a:r>
            <a:endParaRPr kumimoji="0" lang="nl-NL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grpSp>
        <p:nvGrpSpPr>
          <p:cNvPr id="16" name="Gruppo 15">
            <a:extLst>
              <a:ext uri="{FF2B5EF4-FFF2-40B4-BE49-F238E27FC236}">
                <a16:creationId xmlns:a16="http://schemas.microsoft.com/office/drawing/2014/main" id="{1AB0669D-697E-E6C9-2661-18DED90A9CF5}"/>
              </a:ext>
            </a:extLst>
          </p:cNvPr>
          <p:cNvGrpSpPr/>
          <p:nvPr/>
        </p:nvGrpSpPr>
        <p:grpSpPr>
          <a:xfrm>
            <a:off x="499127" y="1416031"/>
            <a:ext cx="4334130" cy="4334713"/>
            <a:chOff x="499127" y="1416031"/>
            <a:chExt cx="4334130" cy="4334713"/>
          </a:xfrm>
        </p:grpSpPr>
        <p:sp>
          <p:nvSpPr>
            <p:cNvPr id="17" name="Text Placeholder 4">
              <a:extLst>
                <a:ext uri="{FF2B5EF4-FFF2-40B4-BE49-F238E27FC236}">
                  <a16:creationId xmlns:a16="http://schemas.microsoft.com/office/drawing/2014/main" id="{A14DA3D8-9B88-7798-70DA-087C73692D8C}"/>
                </a:ext>
              </a:extLst>
            </p:cNvPr>
            <p:cNvSpPr txBox="1">
              <a:spLocks/>
            </p:cNvSpPr>
            <p:nvPr/>
          </p:nvSpPr>
          <p:spPr>
            <a:xfrm>
              <a:off x="499127" y="1435919"/>
              <a:ext cx="4334130" cy="4314825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217488" indent="-217488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10000"/>
                <a:buFont typeface="Segoe UI Light" panose="020B0502040204020203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1488" indent="-254000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  <a:defRPr sz="160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070C0"/>
                </a:buClr>
                <a:buSzPct val="85000"/>
                <a:buFont typeface="Arial" panose="020B0604020202020204" pitchFamily="34" charset="0"/>
                <a:buNone/>
                <a:defRPr sz="160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600" b="1" kern="1200" cap="none" spc="30" baseline="0">
                  <a:solidFill>
                    <a:schemeClr val="tx1"/>
                  </a:solidFill>
                  <a:latin typeface="+mj-lt"/>
                  <a:ea typeface="+mn-ea"/>
                  <a:cs typeface="Calibri" panose="020F0502020204030204" pitchFamily="34" charset="0"/>
                </a:defRPr>
              </a:lvl4pPr>
              <a:lvl5pPr marL="271463" indent="-271463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Font typeface="+mj-lt"/>
                <a:buAutoNum type="arabicPeriod"/>
                <a:defRPr sz="160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7488" indent="-2174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10000"/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71488" indent="-2540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b="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9pPr>
            </a:lstStyle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r>
                <a:rPr kumimoji="0" lang="it-IT" b="0" i="0" u="none" strike="noStrike" kern="120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ource Sans Pro" panose="020B0503030403020204" pitchFamily="34" charset="0"/>
                  <a:cs typeface="Calibri" panose="020F0502020204030204" pitchFamily="34" charset="0"/>
                </a:rPr>
                <a:t>All’interno dell’App Sales </a:t>
              </a:r>
              <a:r>
                <a:rPr lang="it-IT" dirty="0">
                  <a:solidFill>
                    <a:sysClr val="windowText" lastClr="000000"/>
                  </a:solidFill>
                  <a:latin typeface="Source Sans Pro" panose="020B0503030403020204" pitchFamily="34" charset="0"/>
                  <a:cs typeface="Calibri" panose="020F0502020204030204" pitchFamily="34" charset="0"/>
                </a:rPr>
                <a:t>&amp;</a:t>
              </a:r>
              <a:r>
                <a:rPr kumimoji="0" lang="it-IT" b="0" i="0" u="none" strike="noStrike" kern="120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ource Sans Pro" panose="020B0503030403020204" pitchFamily="34" charset="0"/>
                  <a:cs typeface="Calibri" panose="020F0502020204030204" pitchFamily="34" charset="0"/>
                </a:rPr>
                <a:t> </a:t>
              </a:r>
              <a:r>
                <a:rPr lang="it-IT" dirty="0">
                  <a:solidFill>
                    <a:sysClr val="windowText" lastClr="000000"/>
                  </a:solidFill>
                  <a:latin typeface="Source Sans Pro" panose="020B0503030403020204" pitchFamily="34" charset="0"/>
                  <a:cs typeface="Calibri" panose="020F0502020204030204" pitchFamily="34" charset="0"/>
                </a:rPr>
                <a:t>M</a:t>
              </a:r>
              <a:r>
                <a:rPr kumimoji="0" lang="it-IT" b="0" i="0" u="none" strike="noStrike" kern="120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ource Sans Pro" panose="020B0503030403020204" pitchFamily="34" charset="0"/>
                  <a:cs typeface="Calibri" panose="020F0502020204030204" pitchFamily="34" charset="0"/>
                </a:rPr>
                <a:t>arketing (1) , nella sezione dashboards (2) </a:t>
              </a:r>
              <a:r>
                <a:rPr lang="it-IT" dirty="0">
                  <a:solidFill>
                    <a:sysClr val="windowText" lastClr="000000"/>
                  </a:solidFill>
                  <a:latin typeface="Source Sans Pro" panose="020B0503030403020204" pitchFamily="34" charset="0"/>
                  <a:cs typeface="Calibri" panose="020F0502020204030204" pitchFamily="34" charset="0"/>
                </a:rPr>
                <a:t>è</a:t>
              </a:r>
              <a:r>
                <a:rPr kumimoji="0" lang="it-IT" b="0" i="0" u="none" strike="noStrike" kern="120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ource Sans Pro" panose="020B0503030403020204" pitchFamily="34" charset="0"/>
                  <a:cs typeface="Calibri" panose="020F0502020204030204" pitchFamily="34" charset="0"/>
                </a:rPr>
                <a:t> possibile visualizzare delle viste predefinite che aiutano nel </a:t>
              </a:r>
              <a:r>
                <a:rPr kumimoji="0" lang="it-IT" b="1" i="0" u="none" strike="noStrike" kern="120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ource Sans Pro" panose="020B0503030403020204" pitchFamily="34" charset="0"/>
                  <a:cs typeface="Calibri" panose="020F0502020204030204" pitchFamily="34" charset="0"/>
                </a:rPr>
                <a:t>monitoraggio delle attività</a:t>
              </a:r>
              <a:r>
                <a:rPr kumimoji="0" lang="it-IT" b="0" i="0" u="none" strike="noStrike" kern="120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ource Sans Pro" panose="020B0503030403020204" pitchFamily="34" charset="0"/>
                  <a:cs typeface="Calibri" panose="020F0502020204030204" pitchFamily="34" charset="0"/>
                </a:rPr>
                <a:t>.</a:t>
              </a:r>
            </a:p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r>
                <a:rPr lang="it-IT" dirty="0">
                  <a:solidFill>
                    <a:sysClr val="windowText" lastClr="000000"/>
                  </a:solidFill>
                  <a:latin typeface="Source Sans Pro" panose="020B0503030403020204" pitchFamily="34" charset="0"/>
                  <a:cs typeface="Calibri" panose="020F0502020204030204" pitchFamily="34" charset="0"/>
                </a:rPr>
                <a:t>Le dashboards (3)  possono includere sia contenuti creati a partire da </a:t>
              </a:r>
              <a:r>
                <a:rPr lang="it-IT" b="1" dirty="0">
                  <a:solidFill>
                    <a:sysClr val="windowText" lastClr="000000"/>
                  </a:solidFill>
                  <a:latin typeface="Source Sans Pro" panose="020B0503030403020204" pitchFamily="34" charset="0"/>
                  <a:cs typeface="Calibri" panose="020F0502020204030204" pitchFamily="34" charset="0"/>
                </a:rPr>
                <a:t>viste CRM </a:t>
              </a:r>
              <a:r>
                <a:rPr lang="it-IT" dirty="0">
                  <a:solidFill>
                    <a:sysClr val="windowText" lastClr="000000"/>
                  </a:solidFill>
                  <a:latin typeface="Source Sans Pro" panose="020B0503030403020204" pitchFamily="34" charset="0"/>
                  <a:cs typeface="Calibri" panose="020F0502020204030204" pitchFamily="34" charset="0"/>
                </a:rPr>
                <a:t>(4) , sia da contenuti relativi a report Power BI (5) .</a:t>
              </a:r>
            </a:p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endParaRPr lang="it-IT" dirty="0">
                <a:solidFill>
                  <a:sysClr val="windowText" lastClr="000000"/>
                </a:solidFill>
                <a:latin typeface="Source Sans Pro" panose="020B0503030403020204" pitchFamily="34" charset="0"/>
                <a:cs typeface="Calibri" panose="020F0502020204030204" pitchFamily="34" charset="0"/>
              </a:endParaRPr>
            </a:p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endParaRPr kumimoji="0" lang="it-IT" b="0" i="0" u="none" strike="noStrike" kern="120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ource Sans Pro" panose="020B0503030403020204" pitchFamily="34" charset="0"/>
                <a:cs typeface="Calibri" panose="020F0502020204030204" pitchFamily="34" charset="0"/>
              </a:endParaRPr>
            </a:p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endParaRPr kumimoji="0" lang="it-IT" b="0" i="0" u="none" strike="noStrike" kern="120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ource Sans Pro" panose="020B050303040302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0" name="Oval 16">
              <a:extLst>
                <a:ext uri="{FF2B5EF4-FFF2-40B4-BE49-F238E27FC236}">
                  <a16:creationId xmlns:a16="http://schemas.microsoft.com/office/drawing/2014/main" id="{26AF6915-C2C2-FA16-8AF4-CFC15232BCD0}"/>
                </a:ext>
              </a:extLst>
            </p:cNvPr>
            <p:cNvSpPr/>
            <p:nvPr/>
          </p:nvSpPr>
          <p:spPr>
            <a:xfrm>
              <a:off x="1785447" y="2515833"/>
              <a:ext cx="274449" cy="274449"/>
            </a:xfrm>
            <a:prstGeom prst="ellipse">
              <a:avLst/>
            </a:prstGeom>
            <a:solidFill>
              <a:srgbClr val="008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/>
                  <a:ea typeface="+mn-ea"/>
                  <a:cs typeface="+mn-cs"/>
                </a:rPr>
                <a:t>3</a:t>
              </a:r>
            </a:p>
          </p:txBody>
        </p:sp>
        <p:sp>
          <p:nvSpPr>
            <p:cNvPr id="21" name="Oval 17">
              <a:extLst>
                <a:ext uri="{FF2B5EF4-FFF2-40B4-BE49-F238E27FC236}">
                  <a16:creationId xmlns:a16="http://schemas.microsoft.com/office/drawing/2014/main" id="{CAF4F50A-2C22-61E5-43FA-CDB24A61D2F6}"/>
                </a:ext>
              </a:extLst>
            </p:cNvPr>
            <p:cNvSpPr/>
            <p:nvPr/>
          </p:nvSpPr>
          <p:spPr>
            <a:xfrm>
              <a:off x="3722889" y="1416031"/>
              <a:ext cx="274449" cy="274449"/>
            </a:xfrm>
            <a:prstGeom prst="ellipse">
              <a:avLst/>
            </a:prstGeom>
            <a:solidFill>
              <a:srgbClr val="008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22" name="Oval 18">
              <a:extLst>
                <a:ext uri="{FF2B5EF4-FFF2-40B4-BE49-F238E27FC236}">
                  <a16:creationId xmlns:a16="http://schemas.microsoft.com/office/drawing/2014/main" id="{D56FA645-DCA7-FB74-0A78-F451CD888ECA}"/>
                </a:ext>
              </a:extLst>
            </p:cNvPr>
            <p:cNvSpPr/>
            <p:nvPr/>
          </p:nvSpPr>
          <p:spPr>
            <a:xfrm>
              <a:off x="2213728" y="1668043"/>
              <a:ext cx="274449" cy="274449"/>
            </a:xfrm>
            <a:prstGeom prst="ellipse">
              <a:avLst/>
            </a:prstGeom>
            <a:solidFill>
              <a:srgbClr val="008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/>
                  <a:ea typeface="+mn-ea"/>
                  <a:cs typeface="+mn-cs"/>
                </a:rPr>
                <a:t>2</a:t>
              </a:r>
            </a:p>
          </p:txBody>
        </p:sp>
      </p:grpSp>
      <p:pic>
        <p:nvPicPr>
          <p:cNvPr id="26" name="Immagine 25">
            <a:extLst>
              <a:ext uri="{FF2B5EF4-FFF2-40B4-BE49-F238E27FC236}">
                <a16:creationId xmlns:a16="http://schemas.microsoft.com/office/drawing/2014/main" id="{0F39E605-791E-55BC-21CC-CC765B992CC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23647"/>
          <a:stretch/>
        </p:blipFill>
        <p:spPr>
          <a:xfrm>
            <a:off x="5203914" y="3142293"/>
            <a:ext cx="6648452" cy="2857913"/>
          </a:xfrm>
          <a:prstGeom prst="rect">
            <a:avLst/>
          </a:prstGeom>
        </p:spPr>
      </p:pic>
      <p:sp>
        <p:nvSpPr>
          <p:cNvPr id="29" name="Oval 16">
            <a:extLst>
              <a:ext uri="{FF2B5EF4-FFF2-40B4-BE49-F238E27FC236}">
                <a16:creationId xmlns:a16="http://schemas.microsoft.com/office/drawing/2014/main" id="{3238C198-40AD-2FDC-950C-C692ABD81B77}"/>
              </a:ext>
            </a:extLst>
          </p:cNvPr>
          <p:cNvSpPr/>
          <p:nvPr/>
        </p:nvSpPr>
        <p:spPr>
          <a:xfrm>
            <a:off x="2938232" y="2756746"/>
            <a:ext cx="274449" cy="274449"/>
          </a:xfrm>
          <a:prstGeom prst="ellipse">
            <a:avLst/>
          </a:prstGeom>
          <a:solidFill>
            <a:srgbClr val="008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kern="0" dirty="0">
                <a:solidFill>
                  <a:prstClr val="white"/>
                </a:solidFill>
                <a:latin typeface="Source Sans Pro"/>
              </a:rPr>
              <a:t>4</a:t>
            </a:r>
            <a:endParaRPr kumimoji="0" lang="nl-NL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0" name="Oval 16">
            <a:extLst>
              <a:ext uri="{FF2B5EF4-FFF2-40B4-BE49-F238E27FC236}">
                <a16:creationId xmlns:a16="http://schemas.microsoft.com/office/drawing/2014/main" id="{DB7F9EB3-780B-1C0E-8F6A-9D9BCF55F742}"/>
              </a:ext>
            </a:extLst>
          </p:cNvPr>
          <p:cNvSpPr/>
          <p:nvPr/>
        </p:nvSpPr>
        <p:spPr>
          <a:xfrm>
            <a:off x="2626309" y="2993052"/>
            <a:ext cx="274449" cy="274449"/>
          </a:xfrm>
          <a:prstGeom prst="ellipse">
            <a:avLst/>
          </a:prstGeom>
          <a:solidFill>
            <a:srgbClr val="008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5</a:t>
            </a:r>
          </a:p>
        </p:txBody>
      </p:sp>
      <p:sp>
        <p:nvSpPr>
          <p:cNvPr id="32" name="Rectangle 6">
            <a:extLst>
              <a:ext uri="{FF2B5EF4-FFF2-40B4-BE49-F238E27FC236}">
                <a16:creationId xmlns:a16="http://schemas.microsoft.com/office/drawing/2014/main" id="{04C12C5B-6700-F12A-966F-A3BC7C9639A2}"/>
              </a:ext>
            </a:extLst>
          </p:cNvPr>
          <p:cNvSpPr/>
          <p:nvPr/>
        </p:nvSpPr>
        <p:spPr>
          <a:xfrm>
            <a:off x="6510223" y="1414095"/>
            <a:ext cx="5182650" cy="1642884"/>
          </a:xfrm>
          <a:prstGeom prst="rect">
            <a:avLst/>
          </a:prstGeom>
          <a:noFill/>
          <a:ln w="28575" cap="flat" cmpd="sng" algn="ctr">
            <a:solidFill>
              <a:srgbClr val="339933">
                <a:alpha val="47843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4" name="Rectangle 6">
            <a:extLst>
              <a:ext uri="{FF2B5EF4-FFF2-40B4-BE49-F238E27FC236}">
                <a16:creationId xmlns:a16="http://schemas.microsoft.com/office/drawing/2014/main" id="{8B33C584-3E4E-E3D7-FCBA-C5412EAB2843}"/>
              </a:ext>
            </a:extLst>
          </p:cNvPr>
          <p:cNvSpPr/>
          <p:nvPr/>
        </p:nvSpPr>
        <p:spPr>
          <a:xfrm>
            <a:off x="6579390" y="4088188"/>
            <a:ext cx="5182650" cy="1912018"/>
          </a:xfrm>
          <a:prstGeom prst="rect">
            <a:avLst/>
          </a:prstGeom>
          <a:noFill/>
          <a:ln w="28575" cap="flat" cmpd="sng" algn="ctr">
            <a:solidFill>
              <a:srgbClr val="339933">
                <a:alpha val="47843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3" name="Oval 16">
            <a:extLst>
              <a:ext uri="{FF2B5EF4-FFF2-40B4-BE49-F238E27FC236}">
                <a16:creationId xmlns:a16="http://schemas.microsoft.com/office/drawing/2014/main" id="{8090BC8A-E241-85EF-B9A6-962332B463F1}"/>
              </a:ext>
            </a:extLst>
          </p:cNvPr>
          <p:cNvSpPr/>
          <p:nvPr/>
        </p:nvSpPr>
        <p:spPr>
          <a:xfrm>
            <a:off x="6442165" y="3972787"/>
            <a:ext cx="274449" cy="274449"/>
          </a:xfrm>
          <a:prstGeom prst="ellipse">
            <a:avLst/>
          </a:prstGeom>
          <a:solidFill>
            <a:srgbClr val="008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5</a:t>
            </a:r>
          </a:p>
        </p:txBody>
      </p:sp>
      <p:sp>
        <p:nvSpPr>
          <p:cNvPr id="31" name="Oval 16">
            <a:extLst>
              <a:ext uri="{FF2B5EF4-FFF2-40B4-BE49-F238E27FC236}">
                <a16:creationId xmlns:a16="http://schemas.microsoft.com/office/drawing/2014/main" id="{C0D30F2F-B325-B3A2-C974-2BFCDF56416B}"/>
              </a:ext>
            </a:extLst>
          </p:cNvPr>
          <p:cNvSpPr/>
          <p:nvPr/>
        </p:nvSpPr>
        <p:spPr>
          <a:xfrm>
            <a:off x="6372998" y="1298694"/>
            <a:ext cx="274449" cy="274449"/>
          </a:xfrm>
          <a:prstGeom prst="ellipse">
            <a:avLst/>
          </a:prstGeom>
          <a:solidFill>
            <a:srgbClr val="008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kern="0" dirty="0">
                <a:solidFill>
                  <a:prstClr val="white"/>
                </a:solidFill>
                <a:latin typeface="Source Sans Pro"/>
              </a:rPr>
              <a:t>4</a:t>
            </a:r>
            <a:endParaRPr kumimoji="0" lang="nl-NL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6429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magine 10">
            <a:extLst>
              <a:ext uri="{FF2B5EF4-FFF2-40B4-BE49-F238E27FC236}">
                <a16:creationId xmlns:a16="http://schemas.microsoft.com/office/drawing/2014/main" id="{51E15107-61B9-BA5B-7004-98776B19BD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03914" y="501413"/>
            <a:ext cx="6648452" cy="5420818"/>
          </a:xfrm>
          <a:prstGeom prst="rect">
            <a:avLst/>
          </a:prstGeom>
        </p:spPr>
      </p:pic>
      <p:sp>
        <p:nvSpPr>
          <p:cNvPr id="2" name="Segnaposto testo verticale 4">
            <a:extLst>
              <a:ext uri="{FF2B5EF4-FFF2-40B4-BE49-F238E27FC236}">
                <a16:creationId xmlns:a16="http://schemas.microsoft.com/office/drawing/2014/main" id="{40825CB5-4D9B-738E-6212-0156CE294BFF}"/>
              </a:ext>
            </a:extLst>
          </p:cNvPr>
          <p:cNvSpPr txBox="1">
            <a:spLocks/>
          </p:cNvSpPr>
          <p:nvPr/>
        </p:nvSpPr>
        <p:spPr>
          <a:xfrm>
            <a:off x="510512" y="642337"/>
            <a:ext cx="10653443" cy="3845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  <a:defRPr sz="3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17483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0070C0"/>
              </a:buClr>
              <a:buSzPct val="85000"/>
              <a:buFont typeface="Arial" panose="020B0604020202020204" pitchFamily="34" charset="0"/>
              <a:buNone/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 cap="none" spc="31" baseline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271456" indent="-271456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+mj-lt"/>
              <a:buAutoNum type="arabicPeriod"/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7483" indent="-217483" algn="l" defTabSz="914377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71476" indent="-253994" algn="l" defTabSz="914377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71912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065BAA"/>
              </a:buClr>
              <a:buSzPct val="110000"/>
              <a:buFont typeface="Segoe UI Light" panose="020B0502040204020203" pitchFamily="34" charset="0"/>
              <a:buNone/>
              <a:tabLst/>
              <a:defRPr/>
            </a:pPr>
            <a:r>
              <a:rPr kumimoji="0" lang="it-IT" sz="3000" b="0" i="0" u="none" strike="noStrike" kern="1200" cap="none" spc="0" normalizeH="0" baseline="0" noProof="0" dirty="0">
                <a:ln>
                  <a:noFill/>
                </a:ln>
                <a:solidFill>
                  <a:srgbClr val="065BAA"/>
                </a:solidFill>
                <a:effectLst/>
                <a:uLnTx/>
                <a:uFillTx/>
                <a:latin typeface="Source Sans Pro" panose="020B0503030403020204" pitchFamily="34" charset="0"/>
              </a:rPr>
              <a:t>Nuova dashboard CRM </a:t>
            </a:r>
          </a:p>
        </p:txBody>
      </p:sp>
      <p:sp>
        <p:nvSpPr>
          <p:cNvPr id="3" name="Titolo 1">
            <a:extLst>
              <a:ext uri="{FF2B5EF4-FFF2-40B4-BE49-F238E27FC236}">
                <a16:creationId xmlns:a16="http://schemas.microsoft.com/office/drawing/2014/main" id="{6C18FD20-F840-C9AF-1969-6269235008B7}"/>
              </a:ext>
            </a:extLst>
          </p:cNvPr>
          <p:cNvSpPr txBox="1">
            <a:spLocks/>
          </p:cNvSpPr>
          <p:nvPr/>
        </p:nvSpPr>
        <p:spPr>
          <a:xfrm>
            <a:off x="510512" y="255090"/>
            <a:ext cx="10653443" cy="38724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000" b="1" i="0" u="none" strike="noStrike" kern="1200" cap="none" spc="0" normalizeH="0" baseline="0" noProof="0" dirty="0">
                <a:ln>
                  <a:noFill/>
                </a:ln>
                <a:solidFill>
                  <a:srgbClr val="065BAA"/>
                </a:solidFill>
                <a:effectLst/>
                <a:uLnTx/>
                <a:uFillTx/>
                <a:latin typeface="Source Sans Pro" panose="020B0503030403020204" pitchFamily="34" charset="0"/>
              </a:rPr>
              <a:t>CRM</a:t>
            </a:r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1A10B4FF-A519-528D-782F-F7DFD7E14CA1}"/>
              </a:ext>
            </a:extLst>
          </p:cNvPr>
          <p:cNvSpPr/>
          <p:nvPr/>
        </p:nvSpPr>
        <p:spPr>
          <a:xfrm>
            <a:off x="6096000" y="1960811"/>
            <a:ext cx="5329645" cy="3273039"/>
          </a:xfrm>
          <a:prstGeom prst="rect">
            <a:avLst/>
          </a:prstGeom>
          <a:noFill/>
          <a:ln w="28575" cap="flat" cmpd="sng" algn="ctr">
            <a:solidFill>
              <a:srgbClr val="339933">
                <a:alpha val="47843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4" name="Rectangle 19">
            <a:extLst>
              <a:ext uri="{FF2B5EF4-FFF2-40B4-BE49-F238E27FC236}">
                <a16:creationId xmlns:a16="http://schemas.microsoft.com/office/drawing/2014/main" id="{E24048DD-B9F3-ACC1-D41C-260C0C865D6E}"/>
              </a:ext>
            </a:extLst>
          </p:cNvPr>
          <p:cNvSpPr/>
          <p:nvPr/>
        </p:nvSpPr>
        <p:spPr>
          <a:xfrm>
            <a:off x="7123690" y="741344"/>
            <a:ext cx="679190" cy="321346"/>
          </a:xfrm>
          <a:prstGeom prst="rect">
            <a:avLst/>
          </a:prstGeom>
          <a:noFill/>
          <a:ln w="28575" cap="flat" cmpd="sng" algn="ctr">
            <a:solidFill>
              <a:srgbClr val="339933">
                <a:alpha val="47843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5" name="Oval 20">
            <a:extLst>
              <a:ext uri="{FF2B5EF4-FFF2-40B4-BE49-F238E27FC236}">
                <a16:creationId xmlns:a16="http://schemas.microsoft.com/office/drawing/2014/main" id="{1E15438D-1645-621A-8407-7DB369CB9FE5}"/>
              </a:ext>
            </a:extLst>
          </p:cNvPr>
          <p:cNvSpPr/>
          <p:nvPr/>
        </p:nvSpPr>
        <p:spPr>
          <a:xfrm>
            <a:off x="7015690" y="794017"/>
            <a:ext cx="214405" cy="216000"/>
          </a:xfrm>
          <a:prstGeom prst="ellipse">
            <a:avLst/>
          </a:prstGeom>
          <a:solidFill>
            <a:srgbClr val="008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kern="0" dirty="0">
                <a:solidFill>
                  <a:prstClr val="white"/>
                </a:solidFill>
                <a:latin typeface="Source Sans Pro"/>
              </a:rPr>
              <a:t>1</a:t>
            </a:r>
            <a:endParaRPr kumimoji="0" lang="nl-NL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grpSp>
        <p:nvGrpSpPr>
          <p:cNvPr id="16" name="Gruppo 15">
            <a:extLst>
              <a:ext uri="{FF2B5EF4-FFF2-40B4-BE49-F238E27FC236}">
                <a16:creationId xmlns:a16="http://schemas.microsoft.com/office/drawing/2014/main" id="{1AB0669D-697E-E6C9-2661-18DED90A9CF5}"/>
              </a:ext>
            </a:extLst>
          </p:cNvPr>
          <p:cNvGrpSpPr/>
          <p:nvPr/>
        </p:nvGrpSpPr>
        <p:grpSpPr>
          <a:xfrm>
            <a:off x="473000" y="1435919"/>
            <a:ext cx="4360257" cy="4314825"/>
            <a:chOff x="473000" y="1435919"/>
            <a:chExt cx="4360257" cy="4314825"/>
          </a:xfrm>
        </p:grpSpPr>
        <p:sp>
          <p:nvSpPr>
            <p:cNvPr id="17" name="Text Placeholder 4">
              <a:extLst>
                <a:ext uri="{FF2B5EF4-FFF2-40B4-BE49-F238E27FC236}">
                  <a16:creationId xmlns:a16="http://schemas.microsoft.com/office/drawing/2014/main" id="{A14DA3D8-9B88-7798-70DA-087C73692D8C}"/>
                </a:ext>
              </a:extLst>
            </p:cNvPr>
            <p:cNvSpPr txBox="1">
              <a:spLocks/>
            </p:cNvSpPr>
            <p:nvPr/>
          </p:nvSpPr>
          <p:spPr>
            <a:xfrm>
              <a:off x="499127" y="1435919"/>
              <a:ext cx="4334130" cy="4314825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217488" indent="-217488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10000"/>
                <a:buFont typeface="Segoe UI Light" panose="020B0502040204020203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1488" indent="-254000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  <a:defRPr sz="160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070C0"/>
                </a:buClr>
                <a:buSzPct val="85000"/>
                <a:buFont typeface="Arial" panose="020B0604020202020204" pitchFamily="34" charset="0"/>
                <a:buNone/>
                <a:defRPr sz="160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600" b="1" kern="1200" cap="none" spc="30" baseline="0">
                  <a:solidFill>
                    <a:schemeClr val="tx1"/>
                  </a:solidFill>
                  <a:latin typeface="+mj-lt"/>
                  <a:ea typeface="+mn-ea"/>
                  <a:cs typeface="Calibri" panose="020F0502020204030204" pitchFamily="34" charset="0"/>
                </a:defRPr>
              </a:lvl4pPr>
              <a:lvl5pPr marL="271463" indent="-271463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Font typeface="+mj-lt"/>
                <a:buAutoNum type="arabicPeriod"/>
                <a:defRPr sz="160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7488" indent="-2174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10000"/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71488" indent="-2540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b="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9pPr>
            </a:lstStyle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r>
                <a:rPr kumimoji="0" lang="it-IT" b="0" i="0" u="none" strike="noStrike" kern="120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ource Sans Pro" panose="020B0503030403020204" pitchFamily="34" charset="0"/>
                  <a:cs typeface="Calibri" panose="020F0502020204030204" pitchFamily="34" charset="0"/>
                </a:rPr>
                <a:t>Per creare una nuova dashboard contenente informazioni di attività CRM  selezionare </a:t>
              </a:r>
              <a:r>
                <a:rPr kumimoji="0" lang="it-IT" b="1" i="0" u="none" strike="noStrike" kern="120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ource Sans Pro" panose="020B0503030403020204" pitchFamily="34" charset="0"/>
                  <a:cs typeface="Calibri" panose="020F0502020204030204" pitchFamily="34" charset="0"/>
                </a:rPr>
                <a:t>«+NEW» </a:t>
              </a:r>
              <a:r>
                <a:rPr kumimoji="0" lang="it-IT" b="0" i="0" u="none" strike="noStrike" kern="120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ource Sans Pro" panose="020B0503030403020204" pitchFamily="34" charset="0"/>
                  <a:cs typeface="Calibri" panose="020F0502020204030204" pitchFamily="34" charset="0"/>
                </a:rPr>
                <a:t>(1)</a:t>
              </a:r>
              <a:r>
                <a:rPr lang="it-IT" dirty="0">
                  <a:solidFill>
                    <a:sysClr val="windowText" lastClr="000000"/>
                  </a:solidFill>
                  <a:latin typeface="Source Sans Pro" panose="020B0503030403020204" pitchFamily="34" charset="0"/>
                  <a:cs typeface="Calibri" panose="020F0502020204030204" pitchFamily="34" charset="0"/>
                </a:rPr>
                <a:t> e selezionare </a:t>
              </a:r>
              <a:r>
                <a:rPr lang="it-IT" b="1" dirty="0">
                  <a:solidFill>
                    <a:sysClr val="windowText" lastClr="000000"/>
                  </a:solidFill>
                  <a:latin typeface="Source Sans Pro" panose="020B0503030403020204" pitchFamily="34" charset="0"/>
                  <a:cs typeface="Calibri" panose="020F0502020204030204" pitchFamily="34" charset="0"/>
                </a:rPr>
                <a:t>Dynamics 365 Dashboard. </a:t>
              </a:r>
              <a:r>
                <a:rPr lang="it-IT" dirty="0">
                  <a:solidFill>
                    <a:sysClr val="windowText" lastClr="000000"/>
                  </a:solidFill>
                  <a:latin typeface="Source Sans Pro" panose="020B0503030403020204" pitchFamily="34" charset="0"/>
                  <a:cs typeface="Calibri" panose="020F0502020204030204" pitchFamily="34" charset="0"/>
                </a:rPr>
                <a:t>Comparirà una finestra dove si potrà scegliere la struttura della dashboard che si andrà a creare (2) .</a:t>
              </a:r>
            </a:p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r>
                <a:rPr kumimoji="0" lang="it-IT" b="0" i="0" u="sng" strike="noStrike" kern="120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ource Sans Pro" panose="020B0503030403020204" pitchFamily="34" charset="0"/>
                  <a:cs typeface="Calibri" panose="020F0502020204030204" pitchFamily="34" charset="0"/>
                </a:rPr>
                <a:t>Prima di creare una nuova dashboard è consigliato verificare che tutti i contenuti siano esistenti (per esempio se voglio inserire una vista o un grafico devo prima aver creato la vista o il grafico).</a:t>
              </a:r>
            </a:p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endParaRPr kumimoji="0" lang="it-IT" b="0" i="0" u="none" strike="noStrike" kern="120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ource Sans Pro" panose="020B050303040302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" name="Oval 17">
              <a:extLst>
                <a:ext uri="{FF2B5EF4-FFF2-40B4-BE49-F238E27FC236}">
                  <a16:creationId xmlns:a16="http://schemas.microsoft.com/office/drawing/2014/main" id="{CAF4F50A-2C22-61E5-43FA-CDB24A61D2F6}"/>
                </a:ext>
              </a:extLst>
            </p:cNvPr>
            <p:cNvSpPr/>
            <p:nvPr/>
          </p:nvSpPr>
          <p:spPr>
            <a:xfrm>
              <a:off x="473000" y="1917130"/>
              <a:ext cx="274449" cy="274449"/>
            </a:xfrm>
            <a:prstGeom prst="ellipse">
              <a:avLst/>
            </a:prstGeom>
            <a:solidFill>
              <a:srgbClr val="008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/>
                  <a:ea typeface="+mn-ea"/>
                  <a:cs typeface="+mn-cs"/>
                </a:rPr>
                <a:t>1</a:t>
              </a:r>
            </a:p>
          </p:txBody>
        </p:sp>
      </p:grpSp>
      <p:sp>
        <p:nvSpPr>
          <p:cNvPr id="30" name="Oval 16">
            <a:extLst>
              <a:ext uri="{FF2B5EF4-FFF2-40B4-BE49-F238E27FC236}">
                <a16:creationId xmlns:a16="http://schemas.microsoft.com/office/drawing/2014/main" id="{DB7F9EB3-780B-1C0E-8F6A-9D9BCF55F742}"/>
              </a:ext>
            </a:extLst>
          </p:cNvPr>
          <p:cNvSpPr/>
          <p:nvPr/>
        </p:nvSpPr>
        <p:spPr>
          <a:xfrm>
            <a:off x="4502744" y="2400869"/>
            <a:ext cx="274449" cy="274449"/>
          </a:xfrm>
          <a:prstGeom prst="ellipse">
            <a:avLst/>
          </a:prstGeom>
          <a:solidFill>
            <a:srgbClr val="008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2</a:t>
            </a:r>
          </a:p>
        </p:txBody>
      </p:sp>
      <p:pic>
        <p:nvPicPr>
          <p:cNvPr id="13" name="Immagine 12">
            <a:extLst>
              <a:ext uri="{FF2B5EF4-FFF2-40B4-BE49-F238E27FC236}">
                <a16:creationId xmlns:a16="http://schemas.microsoft.com/office/drawing/2014/main" id="{BFE3F460-CA28-7237-33C9-3044C2B74E5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300" t="23300" r="11377" b="22263"/>
          <a:stretch/>
        </p:blipFill>
        <p:spPr>
          <a:xfrm>
            <a:off x="6146677" y="2018947"/>
            <a:ext cx="5216939" cy="3148767"/>
          </a:xfrm>
          <a:prstGeom prst="rect">
            <a:avLst/>
          </a:prstGeom>
        </p:spPr>
      </p:pic>
      <p:sp>
        <p:nvSpPr>
          <p:cNvPr id="7" name="Oval 7">
            <a:extLst>
              <a:ext uri="{FF2B5EF4-FFF2-40B4-BE49-F238E27FC236}">
                <a16:creationId xmlns:a16="http://schemas.microsoft.com/office/drawing/2014/main" id="{090C1CAE-E640-AF5E-658E-7302AF2B8171}"/>
              </a:ext>
            </a:extLst>
          </p:cNvPr>
          <p:cNvSpPr/>
          <p:nvPr/>
        </p:nvSpPr>
        <p:spPr>
          <a:xfrm>
            <a:off x="6278880" y="2083579"/>
            <a:ext cx="216000" cy="216000"/>
          </a:xfrm>
          <a:prstGeom prst="ellipse">
            <a:avLst/>
          </a:prstGeom>
          <a:solidFill>
            <a:srgbClr val="008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577113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0F576A69-537D-840F-40E9-69389C1B74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03914" y="501413"/>
            <a:ext cx="6648452" cy="4467665"/>
          </a:xfrm>
          <a:prstGeom prst="rect">
            <a:avLst/>
          </a:prstGeom>
        </p:spPr>
      </p:pic>
      <p:sp>
        <p:nvSpPr>
          <p:cNvPr id="2" name="Segnaposto testo verticale 4">
            <a:extLst>
              <a:ext uri="{FF2B5EF4-FFF2-40B4-BE49-F238E27FC236}">
                <a16:creationId xmlns:a16="http://schemas.microsoft.com/office/drawing/2014/main" id="{40825CB5-4D9B-738E-6212-0156CE294BFF}"/>
              </a:ext>
            </a:extLst>
          </p:cNvPr>
          <p:cNvSpPr txBox="1">
            <a:spLocks/>
          </p:cNvSpPr>
          <p:nvPr/>
        </p:nvSpPr>
        <p:spPr>
          <a:xfrm>
            <a:off x="510512" y="642337"/>
            <a:ext cx="10653443" cy="3845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  <a:defRPr sz="3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17483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0070C0"/>
              </a:buClr>
              <a:buSzPct val="85000"/>
              <a:buFont typeface="Arial" panose="020B0604020202020204" pitchFamily="34" charset="0"/>
              <a:buNone/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 cap="none" spc="31" baseline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271456" indent="-271456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+mj-lt"/>
              <a:buAutoNum type="arabicPeriod"/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7483" indent="-217483" algn="l" defTabSz="914377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71476" indent="-253994" algn="l" defTabSz="914377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71912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065BAA"/>
              </a:buClr>
              <a:buSzPct val="110000"/>
              <a:buFont typeface="Segoe UI Light" panose="020B0502040204020203" pitchFamily="34" charset="0"/>
              <a:buNone/>
              <a:tabLst/>
              <a:defRPr/>
            </a:pPr>
            <a:r>
              <a:rPr kumimoji="0" lang="it-IT" sz="3000" b="0" i="0" u="none" strike="noStrike" kern="1200" cap="none" spc="0" normalizeH="0" baseline="0" noProof="0" dirty="0">
                <a:ln>
                  <a:noFill/>
                </a:ln>
                <a:solidFill>
                  <a:srgbClr val="065BAA"/>
                </a:solidFill>
                <a:effectLst/>
                <a:uLnTx/>
                <a:uFillTx/>
                <a:latin typeface="Source Sans Pro" panose="020B0503030403020204" pitchFamily="34" charset="0"/>
              </a:rPr>
              <a:t>Nuova dashboard CRM </a:t>
            </a:r>
          </a:p>
        </p:txBody>
      </p:sp>
      <p:sp>
        <p:nvSpPr>
          <p:cNvPr id="3" name="Titolo 1">
            <a:extLst>
              <a:ext uri="{FF2B5EF4-FFF2-40B4-BE49-F238E27FC236}">
                <a16:creationId xmlns:a16="http://schemas.microsoft.com/office/drawing/2014/main" id="{6C18FD20-F840-C9AF-1969-6269235008B7}"/>
              </a:ext>
            </a:extLst>
          </p:cNvPr>
          <p:cNvSpPr txBox="1">
            <a:spLocks/>
          </p:cNvSpPr>
          <p:nvPr/>
        </p:nvSpPr>
        <p:spPr>
          <a:xfrm>
            <a:off x="510512" y="255090"/>
            <a:ext cx="10653443" cy="38724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000" b="1" i="0" u="none" strike="noStrike" kern="1200" cap="none" spc="0" normalizeH="0" baseline="0" noProof="0" dirty="0">
                <a:ln>
                  <a:noFill/>
                </a:ln>
                <a:solidFill>
                  <a:srgbClr val="065BAA"/>
                </a:solidFill>
                <a:effectLst/>
                <a:uLnTx/>
                <a:uFillTx/>
                <a:latin typeface="Source Sans Pro" panose="020B0503030403020204" pitchFamily="34" charset="0"/>
              </a:rPr>
              <a:t>CRM</a:t>
            </a:r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1A10B4FF-A519-528D-782F-F7DFD7E14CA1}"/>
              </a:ext>
            </a:extLst>
          </p:cNvPr>
          <p:cNvSpPr/>
          <p:nvPr/>
        </p:nvSpPr>
        <p:spPr>
          <a:xfrm>
            <a:off x="5282796" y="1341121"/>
            <a:ext cx="2189158" cy="1733006"/>
          </a:xfrm>
          <a:prstGeom prst="rect">
            <a:avLst/>
          </a:prstGeom>
          <a:noFill/>
          <a:ln w="28575" cap="flat" cmpd="sng" algn="ctr">
            <a:solidFill>
              <a:srgbClr val="339933">
                <a:alpha val="47843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4" name="Rectangle 19">
            <a:extLst>
              <a:ext uri="{FF2B5EF4-FFF2-40B4-BE49-F238E27FC236}">
                <a16:creationId xmlns:a16="http://schemas.microsoft.com/office/drawing/2014/main" id="{E24048DD-B9F3-ACC1-D41C-260C0C865D6E}"/>
              </a:ext>
            </a:extLst>
          </p:cNvPr>
          <p:cNvSpPr/>
          <p:nvPr/>
        </p:nvSpPr>
        <p:spPr>
          <a:xfrm>
            <a:off x="5175592" y="466474"/>
            <a:ext cx="6676774" cy="4502604"/>
          </a:xfrm>
          <a:prstGeom prst="rect">
            <a:avLst/>
          </a:prstGeom>
          <a:noFill/>
          <a:ln w="28575" cap="flat" cmpd="sng" algn="ctr">
            <a:solidFill>
              <a:srgbClr val="339933">
                <a:alpha val="47843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5" name="Oval 20">
            <a:extLst>
              <a:ext uri="{FF2B5EF4-FFF2-40B4-BE49-F238E27FC236}">
                <a16:creationId xmlns:a16="http://schemas.microsoft.com/office/drawing/2014/main" id="{1E15438D-1645-621A-8407-7DB369CB9FE5}"/>
              </a:ext>
            </a:extLst>
          </p:cNvPr>
          <p:cNvSpPr/>
          <p:nvPr/>
        </p:nvSpPr>
        <p:spPr>
          <a:xfrm>
            <a:off x="6940733" y="357253"/>
            <a:ext cx="214405" cy="216000"/>
          </a:xfrm>
          <a:prstGeom prst="ellipse">
            <a:avLst/>
          </a:prstGeom>
          <a:solidFill>
            <a:srgbClr val="008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kern="0" dirty="0">
                <a:solidFill>
                  <a:prstClr val="white"/>
                </a:solidFill>
                <a:latin typeface="Source Sans Pro"/>
              </a:rPr>
              <a:t>1</a:t>
            </a:r>
            <a:endParaRPr kumimoji="0" lang="nl-NL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grpSp>
        <p:nvGrpSpPr>
          <p:cNvPr id="16" name="Gruppo 15">
            <a:extLst>
              <a:ext uri="{FF2B5EF4-FFF2-40B4-BE49-F238E27FC236}">
                <a16:creationId xmlns:a16="http://schemas.microsoft.com/office/drawing/2014/main" id="{1AB0669D-697E-E6C9-2661-18DED90A9CF5}"/>
              </a:ext>
            </a:extLst>
          </p:cNvPr>
          <p:cNvGrpSpPr/>
          <p:nvPr/>
        </p:nvGrpSpPr>
        <p:grpSpPr>
          <a:xfrm>
            <a:off x="499127" y="1422804"/>
            <a:ext cx="4334130" cy="4327940"/>
            <a:chOff x="499127" y="1422804"/>
            <a:chExt cx="4334130" cy="4327940"/>
          </a:xfrm>
        </p:grpSpPr>
        <p:sp>
          <p:nvSpPr>
            <p:cNvPr id="17" name="Text Placeholder 4">
              <a:extLst>
                <a:ext uri="{FF2B5EF4-FFF2-40B4-BE49-F238E27FC236}">
                  <a16:creationId xmlns:a16="http://schemas.microsoft.com/office/drawing/2014/main" id="{A14DA3D8-9B88-7798-70DA-087C73692D8C}"/>
                </a:ext>
              </a:extLst>
            </p:cNvPr>
            <p:cNvSpPr txBox="1">
              <a:spLocks/>
            </p:cNvSpPr>
            <p:nvPr/>
          </p:nvSpPr>
          <p:spPr>
            <a:xfrm>
              <a:off x="499127" y="1435919"/>
              <a:ext cx="4334130" cy="4314825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217488" indent="-217488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10000"/>
                <a:buFont typeface="Segoe UI Light" panose="020B0502040204020203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1488" indent="-254000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  <a:defRPr sz="160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070C0"/>
                </a:buClr>
                <a:buSzPct val="85000"/>
                <a:buFont typeface="Arial" panose="020B0604020202020204" pitchFamily="34" charset="0"/>
                <a:buNone/>
                <a:defRPr sz="160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600" b="1" kern="1200" cap="none" spc="30" baseline="0">
                  <a:solidFill>
                    <a:schemeClr val="tx1"/>
                  </a:solidFill>
                  <a:latin typeface="+mj-lt"/>
                  <a:ea typeface="+mn-ea"/>
                  <a:cs typeface="Calibri" panose="020F0502020204030204" pitchFamily="34" charset="0"/>
                </a:defRPr>
              </a:lvl4pPr>
              <a:lvl5pPr marL="271463" indent="-271463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Font typeface="+mj-lt"/>
                <a:buAutoNum type="arabicPeriod"/>
                <a:defRPr sz="160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7488" indent="-2174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10000"/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71488" indent="-2540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b="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9pPr>
            </a:lstStyle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r>
                <a:rPr kumimoji="0" lang="it-IT" b="0" i="0" u="none" strike="noStrike" kern="120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ource Sans Pro" panose="020B0503030403020204" pitchFamily="34" charset="0"/>
                  <a:cs typeface="Calibri" panose="020F0502020204030204" pitchFamily="34" charset="0"/>
                </a:rPr>
                <a:t>Si aprirà la finestra di dialogo Powe</a:t>
              </a:r>
              <a:r>
                <a:rPr lang="it-IT" dirty="0">
                  <a:solidFill>
                    <a:sysClr val="windowText" lastClr="000000"/>
                  </a:solidFill>
                  <a:latin typeface="Source Sans Pro" panose="020B0503030403020204" pitchFamily="34" charset="0"/>
                  <a:cs typeface="Calibri" panose="020F0502020204030204" pitchFamily="34" charset="0"/>
                </a:rPr>
                <a:t>r Apps (1) . </a:t>
              </a:r>
            </a:p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r>
                <a:rPr kumimoji="0" lang="it-IT" b="0" i="0" u="none" strike="noStrike" kern="120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ource Sans Pro" panose="020B0503030403020204" pitchFamily="34" charset="0"/>
                  <a:cs typeface="Calibri" panose="020F0502020204030204" pitchFamily="34" charset="0"/>
                </a:rPr>
                <a:t>La prima cosa da fare è definire il nome della dashboard che sarà poi visualizzato in CRM.</a:t>
              </a:r>
              <a:endParaRPr lang="it-IT" dirty="0">
                <a:solidFill>
                  <a:sysClr val="windowText" lastClr="000000"/>
                </a:solidFill>
                <a:latin typeface="Source Sans Pro" panose="020B0503030403020204" pitchFamily="34" charset="0"/>
                <a:cs typeface="Calibri" panose="020F0502020204030204" pitchFamily="34" charset="0"/>
              </a:endParaRPr>
            </a:p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r>
                <a:rPr kumimoji="0" lang="it-IT" b="0" i="0" u="none" strike="noStrike" kern="120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ource Sans Pro" panose="020B0503030403020204" pitchFamily="34" charset="0"/>
                  <a:cs typeface="Calibri" panose="020F0502020204030204" pitchFamily="34" charset="0"/>
                </a:rPr>
                <a:t>Per definire il contenuto delle singole sezioni, cliccare all’interno di una sezione (2) sulla tipologia di contenuto che si vuole inserire (3) .          I principali sono:</a:t>
              </a:r>
            </a:p>
            <a:p>
              <a:pPr marR="0" lvl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Tx/>
                <a:buChar char="-"/>
                <a:tabLst/>
                <a:defRPr/>
              </a:pPr>
              <a:r>
                <a:rPr lang="it-IT" dirty="0">
                  <a:solidFill>
                    <a:sysClr val="windowText" lastClr="000000"/>
                  </a:solidFill>
                  <a:latin typeface="Source Sans Pro" panose="020B0503030403020204" pitchFamily="34" charset="0"/>
                  <a:cs typeface="Calibri" panose="020F0502020204030204" pitchFamily="34" charset="0"/>
                </a:rPr>
                <a:t>Tabella</a:t>
              </a:r>
            </a:p>
            <a:p>
              <a:pPr marR="0" lvl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Tx/>
                <a:buChar char="-"/>
                <a:tabLst/>
                <a:defRPr/>
              </a:pPr>
              <a:r>
                <a:rPr kumimoji="0" lang="it-IT" b="0" i="0" u="none" strike="noStrike" kern="120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ource Sans Pro" panose="020B0503030403020204" pitchFamily="34" charset="0"/>
                  <a:cs typeface="Calibri" panose="020F0502020204030204" pitchFamily="34" charset="0"/>
                </a:rPr>
                <a:t>Lista</a:t>
              </a:r>
              <a:endParaRPr lang="it-IT" dirty="0">
                <a:solidFill>
                  <a:sysClr val="windowText" lastClr="000000"/>
                </a:solidFill>
                <a:latin typeface="Source Sans Pro" panose="020B0503030403020204" pitchFamily="34" charset="0"/>
                <a:cs typeface="Calibri" panose="020F0502020204030204" pitchFamily="34" charset="0"/>
              </a:endParaRPr>
            </a:p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None/>
                <a:tabLst/>
                <a:defRPr/>
              </a:pPr>
              <a:r>
                <a:rPr lang="it-IT" dirty="0">
                  <a:solidFill>
                    <a:sysClr val="windowText" lastClr="000000"/>
                  </a:solidFill>
                  <a:latin typeface="Source Sans Pro" panose="020B0503030403020204" pitchFamily="34" charset="0"/>
                  <a:cs typeface="Calibri" panose="020F0502020204030204" pitchFamily="34" charset="0"/>
                </a:rPr>
                <a:t>Cliccando su una tipologia di contenuto si apre una nuova finestra per definire la fonte del contenuto (4) . Per inserire un grafico, per esempio, sarà chiesto di selezionare il tipo di record oggetto (es. Appuntamenti), il tipo di vista (es. Appuntamenti personali futuri) e tipologia di grafico. Quando sono definiti i contenuti cliccare «Salva» (5) .</a:t>
              </a:r>
            </a:p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endParaRPr kumimoji="0" lang="it-IT" b="0" i="0" u="none" strike="noStrike" kern="120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ource Sans Pro" panose="020B050303040302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" name="Oval 17">
              <a:extLst>
                <a:ext uri="{FF2B5EF4-FFF2-40B4-BE49-F238E27FC236}">
                  <a16:creationId xmlns:a16="http://schemas.microsoft.com/office/drawing/2014/main" id="{CAF4F50A-2C22-61E5-43FA-CDB24A61D2F6}"/>
                </a:ext>
              </a:extLst>
            </p:cNvPr>
            <p:cNvSpPr/>
            <p:nvPr/>
          </p:nvSpPr>
          <p:spPr>
            <a:xfrm>
              <a:off x="4052222" y="1422804"/>
              <a:ext cx="274449" cy="274449"/>
            </a:xfrm>
            <a:prstGeom prst="ellipse">
              <a:avLst/>
            </a:prstGeom>
            <a:solidFill>
              <a:srgbClr val="008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/>
                  <a:ea typeface="+mn-ea"/>
                  <a:cs typeface="+mn-cs"/>
                </a:rPr>
                <a:t>1</a:t>
              </a:r>
            </a:p>
          </p:txBody>
        </p:sp>
      </p:grpSp>
      <p:sp>
        <p:nvSpPr>
          <p:cNvPr id="30" name="Oval 16">
            <a:extLst>
              <a:ext uri="{FF2B5EF4-FFF2-40B4-BE49-F238E27FC236}">
                <a16:creationId xmlns:a16="http://schemas.microsoft.com/office/drawing/2014/main" id="{DB7F9EB3-780B-1C0E-8F6A-9D9BCF55F742}"/>
              </a:ext>
            </a:extLst>
          </p:cNvPr>
          <p:cNvSpPr/>
          <p:nvPr/>
        </p:nvSpPr>
        <p:spPr>
          <a:xfrm>
            <a:off x="3344452" y="2621856"/>
            <a:ext cx="274449" cy="274449"/>
          </a:xfrm>
          <a:prstGeom prst="ellipse">
            <a:avLst/>
          </a:prstGeom>
          <a:solidFill>
            <a:srgbClr val="008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2</a:t>
            </a:r>
          </a:p>
        </p:txBody>
      </p:sp>
      <p:sp>
        <p:nvSpPr>
          <p:cNvPr id="7" name="Oval 7">
            <a:extLst>
              <a:ext uri="{FF2B5EF4-FFF2-40B4-BE49-F238E27FC236}">
                <a16:creationId xmlns:a16="http://schemas.microsoft.com/office/drawing/2014/main" id="{090C1CAE-E640-AF5E-658E-7302AF2B8171}"/>
              </a:ext>
            </a:extLst>
          </p:cNvPr>
          <p:cNvSpPr/>
          <p:nvPr/>
        </p:nvSpPr>
        <p:spPr>
          <a:xfrm>
            <a:off x="5370384" y="1435919"/>
            <a:ext cx="216000" cy="216000"/>
          </a:xfrm>
          <a:prstGeom prst="ellipse">
            <a:avLst/>
          </a:prstGeom>
          <a:solidFill>
            <a:srgbClr val="008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2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180F78DF-FFA1-3A01-0896-747DD71CDA02}"/>
              </a:ext>
            </a:extLst>
          </p:cNvPr>
          <p:cNvSpPr/>
          <p:nvPr/>
        </p:nvSpPr>
        <p:spPr>
          <a:xfrm>
            <a:off x="5988000" y="1952238"/>
            <a:ext cx="216000" cy="216000"/>
          </a:xfrm>
          <a:prstGeom prst="ellipse">
            <a:avLst/>
          </a:prstGeom>
          <a:solidFill>
            <a:srgbClr val="008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3</a:t>
            </a:r>
          </a:p>
        </p:txBody>
      </p:sp>
      <p:sp>
        <p:nvSpPr>
          <p:cNvPr id="9" name="Oval 16">
            <a:extLst>
              <a:ext uri="{FF2B5EF4-FFF2-40B4-BE49-F238E27FC236}">
                <a16:creationId xmlns:a16="http://schemas.microsoft.com/office/drawing/2014/main" id="{4860E8E6-284F-3EAA-1BC0-B37175791296}"/>
              </a:ext>
            </a:extLst>
          </p:cNvPr>
          <p:cNvSpPr/>
          <p:nvPr/>
        </p:nvSpPr>
        <p:spPr>
          <a:xfrm>
            <a:off x="4113716" y="2868528"/>
            <a:ext cx="274449" cy="274449"/>
          </a:xfrm>
          <a:prstGeom prst="ellipse">
            <a:avLst/>
          </a:prstGeom>
          <a:solidFill>
            <a:srgbClr val="008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kern="0" dirty="0">
                <a:solidFill>
                  <a:prstClr val="white"/>
                </a:solidFill>
                <a:latin typeface="Source Sans Pro"/>
              </a:rPr>
              <a:t>3</a:t>
            </a:r>
            <a:endParaRPr kumimoji="0" lang="nl-NL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pic>
        <p:nvPicPr>
          <p:cNvPr id="12" name="Immagine 11">
            <a:extLst>
              <a:ext uri="{FF2B5EF4-FFF2-40B4-BE49-F238E27FC236}">
                <a16:creationId xmlns:a16="http://schemas.microsoft.com/office/drawing/2014/main" id="{A7CC50D7-FB61-A5E4-A705-C653109D3D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27222" y="3309628"/>
            <a:ext cx="3630198" cy="2441116"/>
          </a:xfrm>
          <a:prstGeom prst="rect">
            <a:avLst/>
          </a:prstGeom>
        </p:spPr>
      </p:pic>
      <p:sp>
        <p:nvSpPr>
          <p:cNvPr id="18" name="Rectangle 6">
            <a:extLst>
              <a:ext uri="{FF2B5EF4-FFF2-40B4-BE49-F238E27FC236}">
                <a16:creationId xmlns:a16="http://schemas.microsoft.com/office/drawing/2014/main" id="{BA37A557-D6F7-74A1-86A4-80648B1FAE65}"/>
              </a:ext>
            </a:extLst>
          </p:cNvPr>
          <p:cNvSpPr/>
          <p:nvPr/>
        </p:nvSpPr>
        <p:spPr>
          <a:xfrm>
            <a:off x="6560250" y="3253592"/>
            <a:ext cx="3750697" cy="2555023"/>
          </a:xfrm>
          <a:prstGeom prst="rect">
            <a:avLst/>
          </a:prstGeom>
          <a:noFill/>
          <a:ln w="28575" cap="flat" cmpd="sng" algn="ctr">
            <a:solidFill>
              <a:srgbClr val="339933">
                <a:alpha val="47843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9" name="Oval 16">
            <a:extLst>
              <a:ext uri="{FF2B5EF4-FFF2-40B4-BE49-F238E27FC236}">
                <a16:creationId xmlns:a16="http://schemas.microsoft.com/office/drawing/2014/main" id="{AA9A13A4-297D-F683-923E-704D2AA877ED}"/>
              </a:ext>
            </a:extLst>
          </p:cNvPr>
          <p:cNvSpPr/>
          <p:nvPr/>
        </p:nvSpPr>
        <p:spPr>
          <a:xfrm>
            <a:off x="9668548" y="3593331"/>
            <a:ext cx="274449" cy="274449"/>
          </a:xfrm>
          <a:prstGeom prst="ellipse">
            <a:avLst/>
          </a:prstGeom>
          <a:solidFill>
            <a:srgbClr val="008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4</a:t>
            </a:r>
          </a:p>
        </p:txBody>
      </p:sp>
      <p:sp>
        <p:nvSpPr>
          <p:cNvPr id="20" name="Oval 16">
            <a:extLst>
              <a:ext uri="{FF2B5EF4-FFF2-40B4-BE49-F238E27FC236}">
                <a16:creationId xmlns:a16="http://schemas.microsoft.com/office/drawing/2014/main" id="{ED60ABDE-579A-D660-B03D-7AD67FCB3B38}"/>
              </a:ext>
            </a:extLst>
          </p:cNvPr>
          <p:cNvSpPr/>
          <p:nvPr/>
        </p:nvSpPr>
        <p:spPr>
          <a:xfrm>
            <a:off x="1409040" y="4694629"/>
            <a:ext cx="274449" cy="274449"/>
          </a:xfrm>
          <a:prstGeom prst="ellipse">
            <a:avLst/>
          </a:prstGeom>
          <a:solidFill>
            <a:srgbClr val="008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4</a:t>
            </a:r>
          </a:p>
        </p:txBody>
      </p:sp>
      <p:sp>
        <p:nvSpPr>
          <p:cNvPr id="22" name="Oval 16">
            <a:extLst>
              <a:ext uri="{FF2B5EF4-FFF2-40B4-BE49-F238E27FC236}">
                <a16:creationId xmlns:a16="http://schemas.microsoft.com/office/drawing/2014/main" id="{4909B595-52B3-B1D5-00BE-521C09F2E553}"/>
              </a:ext>
            </a:extLst>
          </p:cNvPr>
          <p:cNvSpPr/>
          <p:nvPr/>
        </p:nvSpPr>
        <p:spPr>
          <a:xfrm>
            <a:off x="1154743" y="5885366"/>
            <a:ext cx="274449" cy="274449"/>
          </a:xfrm>
          <a:prstGeom prst="ellipse">
            <a:avLst/>
          </a:prstGeom>
          <a:solidFill>
            <a:srgbClr val="008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kern="0" dirty="0">
                <a:solidFill>
                  <a:prstClr val="white"/>
                </a:solidFill>
                <a:latin typeface="Source Sans Pro"/>
              </a:rPr>
              <a:t>5</a:t>
            </a:r>
            <a:endParaRPr kumimoji="0" lang="nl-NL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23" name="Oval 7">
            <a:extLst>
              <a:ext uri="{FF2B5EF4-FFF2-40B4-BE49-F238E27FC236}">
                <a16:creationId xmlns:a16="http://schemas.microsoft.com/office/drawing/2014/main" id="{6A08BD40-5F83-1EA0-1DA3-95F067907E0C}"/>
              </a:ext>
            </a:extLst>
          </p:cNvPr>
          <p:cNvSpPr/>
          <p:nvPr/>
        </p:nvSpPr>
        <p:spPr>
          <a:xfrm>
            <a:off x="5175592" y="546253"/>
            <a:ext cx="216000" cy="216000"/>
          </a:xfrm>
          <a:prstGeom prst="ellipse">
            <a:avLst/>
          </a:prstGeom>
          <a:solidFill>
            <a:srgbClr val="008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5</a:t>
            </a:r>
          </a:p>
        </p:txBody>
      </p:sp>
      <p:sp>
        <p:nvSpPr>
          <p:cNvPr id="24" name="Rectangle 6">
            <a:extLst>
              <a:ext uri="{FF2B5EF4-FFF2-40B4-BE49-F238E27FC236}">
                <a16:creationId xmlns:a16="http://schemas.microsoft.com/office/drawing/2014/main" id="{ADB90A92-1D30-D2E3-765F-2A2031741F72}"/>
              </a:ext>
            </a:extLst>
          </p:cNvPr>
          <p:cNvSpPr/>
          <p:nvPr/>
        </p:nvSpPr>
        <p:spPr>
          <a:xfrm>
            <a:off x="5280494" y="711421"/>
            <a:ext cx="305890" cy="179297"/>
          </a:xfrm>
          <a:prstGeom prst="rect">
            <a:avLst/>
          </a:prstGeom>
          <a:noFill/>
          <a:ln w="28575" cap="flat" cmpd="sng" algn="ctr">
            <a:solidFill>
              <a:srgbClr val="339933">
                <a:alpha val="47843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6940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magine 10">
            <a:extLst>
              <a:ext uri="{FF2B5EF4-FFF2-40B4-BE49-F238E27FC236}">
                <a16:creationId xmlns:a16="http://schemas.microsoft.com/office/drawing/2014/main" id="{51E15107-61B9-BA5B-7004-98776B19BD8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" b="971"/>
          <a:stretch/>
        </p:blipFill>
        <p:spPr>
          <a:xfrm>
            <a:off x="5203914" y="501413"/>
            <a:ext cx="6648452" cy="5368164"/>
          </a:xfrm>
          <a:prstGeom prst="rect">
            <a:avLst/>
          </a:prstGeom>
        </p:spPr>
      </p:pic>
      <p:sp>
        <p:nvSpPr>
          <p:cNvPr id="2" name="Segnaposto testo verticale 4">
            <a:extLst>
              <a:ext uri="{FF2B5EF4-FFF2-40B4-BE49-F238E27FC236}">
                <a16:creationId xmlns:a16="http://schemas.microsoft.com/office/drawing/2014/main" id="{40825CB5-4D9B-738E-6212-0156CE294BFF}"/>
              </a:ext>
            </a:extLst>
          </p:cNvPr>
          <p:cNvSpPr txBox="1">
            <a:spLocks/>
          </p:cNvSpPr>
          <p:nvPr/>
        </p:nvSpPr>
        <p:spPr>
          <a:xfrm>
            <a:off x="510512" y="642337"/>
            <a:ext cx="10653443" cy="3845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  <a:defRPr sz="3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17483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0070C0"/>
              </a:buClr>
              <a:buSzPct val="85000"/>
              <a:buFont typeface="Arial" panose="020B0604020202020204" pitchFamily="34" charset="0"/>
              <a:buNone/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 cap="none" spc="31" baseline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271456" indent="-271456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+mj-lt"/>
              <a:buAutoNum type="arabicPeriod"/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7483" indent="-217483" algn="l" defTabSz="914377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71476" indent="-253994" algn="l" defTabSz="914377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71912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065BAA"/>
              </a:buClr>
              <a:buSzPct val="110000"/>
              <a:buFont typeface="Segoe UI Light" panose="020B0502040204020203" pitchFamily="34" charset="0"/>
              <a:buNone/>
              <a:tabLst/>
              <a:defRPr/>
            </a:pPr>
            <a:r>
              <a:rPr kumimoji="0" lang="it-IT" sz="3000" b="0" i="0" u="none" strike="noStrike" kern="1200" cap="none" spc="0" normalizeH="0" baseline="0" noProof="0" dirty="0">
                <a:ln>
                  <a:noFill/>
                </a:ln>
                <a:solidFill>
                  <a:srgbClr val="065BAA"/>
                </a:solidFill>
                <a:effectLst/>
                <a:uLnTx/>
                <a:uFillTx/>
                <a:latin typeface="Source Sans Pro" panose="020B0503030403020204" pitchFamily="34" charset="0"/>
              </a:rPr>
              <a:t>Modifica dashboards CRM</a:t>
            </a:r>
          </a:p>
        </p:txBody>
      </p:sp>
      <p:sp>
        <p:nvSpPr>
          <p:cNvPr id="3" name="Titolo 1">
            <a:extLst>
              <a:ext uri="{FF2B5EF4-FFF2-40B4-BE49-F238E27FC236}">
                <a16:creationId xmlns:a16="http://schemas.microsoft.com/office/drawing/2014/main" id="{6C18FD20-F840-C9AF-1969-6269235008B7}"/>
              </a:ext>
            </a:extLst>
          </p:cNvPr>
          <p:cNvSpPr txBox="1">
            <a:spLocks/>
          </p:cNvSpPr>
          <p:nvPr/>
        </p:nvSpPr>
        <p:spPr>
          <a:xfrm>
            <a:off x="510512" y="255090"/>
            <a:ext cx="10653443" cy="38724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000" b="1" i="0" u="none" strike="noStrike" kern="1200" cap="none" spc="0" normalizeH="0" baseline="0" noProof="0" dirty="0">
                <a:ln>
                  <a:noFill/>
                </a:ln>
                <a:solidFill>
                  <a:srgbClr val="065BAA"/>
                </a:solidFill>
                <a:effectLst/>
                <a:uLnTx/>
                <a:uFillTx/>
                <a:latin typeface="Source Sans Pro" panose="020B0503030403020204" pitchFamily="34" charset="0"/>
              </a:rPr>
              <a:t>CRM</a:t>
            </a:r>
          </a:p>
        </p:txBody>
      </p:sp>
      <p:sp>
        <p:nvSpPr>
          <p:cNvPr id="14" name="Rectangle 19">
            <a:extLst>
              <a:ext uri="{FF2B5EF4-FFF2-40B4-BE49-F238E27FC236}">
                <a16:creationId xmlns:a16="http://schemas.microsoft.com/office/drawing/2014/main" id="{E24048DD-B9F3-ACC1-D41C-260C0C865D6E}"/>
              </a:ext>
            </a:extLst>
          </p:cNvPr>
          <p:cNvSpPr/>
          <p:nvPr/>
        </p:nvSpPr>
        <p:spPr>
          <a:xfrm>
            <a:off x="6405680" y="1035216"/>
            <a:ext cx="2764445" cy="321346"/>
          </a:xfrm>
          <a:prstGeom prst="rect">
            <a:avLst/>
          </a:prstGeom>
          <a:noFill/>
          <a:ln w="28575" cap="flat" cmpd="sng" algn="ctr">
            <a:solidFill>
              <a:srgbClr val="339933">
                <a:alpha val="47843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5" name="Oval 20">
            <a:extLst>
              <a:ext uri="{FF2B5EF4-FFF2-40B4-BE49-F238E27FC236}">
                <a16:creationId xmlns:a16="http://schemas.microsoft.com/office/drawing/2014/main" id="{1E15438D-1645-621A-8407-7DB369CB9FE5}"/>
              </a:ext>
            </a:extLst>
          </p:cNvPr>
          <p:cNvSpPr/>
          <p:nvPr/>
        </p:nvSpPr>
        <p:spPr>
          <a:xfrm>
            <a:off x="6297681" y="1087889"/>
            <a:ext cx="214405" cy="216000"/>
          </a:xfrm>
          <a:prstGeom prst="ellipse">
            <a:avLst/>
          </a:prstGeom>
          <a:solidFill>
            <a:srgbClr val="008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kern="0" dirty="0">
                <a:solidFill>
                  <a:prstClr val="white"/>
                </a:solidFill>
                <a:latin typeface="Source Sans Pro"/>
              </a:rPr>
              <a:t>1</a:t>
            </a:r>
            <a:endParaRPr kumimoji="0" lang="nl-NL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grpSp>
        <p:nvGrpSpPr>
          <p:cNvPr id="16" name="Gruppo 15">
            <a:extLst>
              <a:ext uri="{FF2B5EF4-FFF2-40B4-BE49-F238E27FC236}">
                <a16:creationId xmlns:a16="http://schemas.microsoft.com/office/drawing/2014/main" id="{1AB0669D-697E-E6C9-2661-18DED90A9CF5}"/>
              </a:ext>
            </a:extLst>
          </p:cNvPr>
          <p:cNvGrpSpPr/>
          <p:nvPr/>
        </p:nvGrpSpPr>
        <p:grpSpPr>
          <a:xfrm>
            <a:off x="499127" y="1435919"/>
            <a:ext cx="4334130" cy="4314825"/>
            <a:chOff x="499127" y="1435919"/>
            <a:chExt cx="4334130" cy="4314825"/>
          </a:xfrm>
        </p:grpSpPr>
        <p:sp>
          <p:nvSpPr>
            <p:cNvPr id="17" name="Text Placeholder 4">
              <a:extLst>
                <a:ext uri="{FF2B5EF4-FFF2-40B4-BE49-F238E27FC236}">
                  <a16:creationId xmlns:a16="http://schemas.microsoft.com/office/drawing/2014/main" id="{A14DA3D8-9B88-7798-70DA-087C73692D8C}"/>
                </a:ext>
              </a:extLst>
            </p:cNvPr>
            <p:cNvSpPr txBox="1">
              <a:spLocks/>
            </p:cNvSpPr>
            <p:nvPr/>
          </p:nvSpPr>
          <p:spPr>
            <a:xfrm>
              <a:off x="499127" y="1435919"/>
              <a:ext cx="4334130" cy="4314825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217488" indent="-217488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10000"/>
                <a:buFont typeface="Segoe UI Light" panose="020B0502040204020203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1488" indent="-254000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  <a:defRPr sz="160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070C0"/>
                </a:buClr>
                <a:buSzPct val="85000"/>
                <a:buFont typeface="Arial" panose="020B0604020202020204" pitchFamily="34" charset="0"/>
                <a:buNone/>
                <a:defRPr sz="160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600" b="1" kern="1200" cap="none" spc="30" baseline="0">
                  <a:solidFill>
                    <a:schemeClr val="tx1"/>
                  </a:solidFill>
                  <a:latin typeface="+mj-lt"/>
                  <a:ea typeface="+mn-ea"/>
                  <a:cs typeface="Calibri" panose="020F0502020204030204" pitchFamily="34" charset="0"/>
                </a:defRPr>
              </a:lvl4pPr>
              <a:lvl5pPr marL="271463" indent="-271463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Font typeface="+mj-lt"/>
                <a:buAutoNum type="arabicPeriod"/>
                <a:defRPr sz="160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7488" indent="-2174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10000"/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71488" indent="-2540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b="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9pPr>
            </a:lstStyle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r>
                <a:rPr kumimoji="0" lang="it-IT" b="0" i="0" u="none" strike="noStrike" kern="120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ource Sans Pro" panose="020B0503030403020204" pitchFamily="34" charset="0"/>
                  <a:cs typeface="Calibri" panose="020F0502020204030204" pitchFamily="34" charset="0"/>
                </a:rPr>
                <a:t>È possibile anche modificare viste esistenti. Per farlo è necessario posizionarsi sulla dashboard che si vuole modificare (1) e selezionare </a:t>
              </a:r>
              <a:r>
                <a:rPr kumimoji="0" lang="it-IT" b="1" i="0" u="none" strike="noStrike" kern="120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ource Sans Pro" panose="020B0503030403020204" pitchFamily="34" charset="0"/>
                  <a:cs typeface="Calibri" panose="020F0502020204030204" pitchFamily="34" charset="0"/>
                </a:rPr>
                <a:t>«Salva come» </a:t>
              </a:r>
              <a:r>
                <a:rPr kumimoji="0" lang="it-IT" b="0" i="0" u="none" strike="noStrike" kern="120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ource Sans Pro" panose="020B0503030403020204" pitchFamily="34" charset="0"/>
                  <a:cs typeface="Calibri" panose="020F0502020204030204" pitchFamily="34" charset="0"/>
                </a:rPr>
                <a:t>(2</a:t>
              </a:r>
              <a:r>
                <a:rPr lang="it-IT" dirty="0">
                  <a:solidFill>
                    <a:sysClr val="windowText" lastClr="000000"/>
                  </a:solidFill>
                  <a:latin typeface="Source Sans Pro" panose="020B0503030403020204" pitchFamily="34" charset="0"/>
                  <a:cs typeface="Calibri" panose="020F0502020204030204" pitchFamily="34" charset="0"/>
                </a:rPr>
                <a:t>) . Comparirà una finestra dove indicare il nome e la descrizione della nuova dashboard (3) . </a:t>
              </a:r>
            </a:p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endParaRPr kumimoji="0" lang="it-IT" b="0" i="0" u="none" strike="noStrike" kern="120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ource Sans Pro" panose="020B0503030403020204" pitchFamily="34" charset="0"/>
                <a:cs typeface="Calibri" panose="020F0502020204030204" pitchFamily="34" charset="0"/>
              </a:endParaRPr>
            </a:p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endParaRPr kumimoji="0" lang="it-IT" b="0" i="0" u="none" strike="noStrike" kern="120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ource Sans Pro" panose="020B050303040302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" name="Oval 17">
              <a:extLst>
                <a:ext uri="{FF2B5EF4-FFF2-40B4-BE49-F238E27FC236}">
                  <a16:creationId xmlns:a16="http://schemas.microsoft.com/office/drawing/2014/main" id="{CAF4F50A-2C22-61E5-43FA-CDB24A61D2F6}"/>
                </a:ext>
              </a:extLst>
            </p:cNvPr>
            <p:cNvSpPr/>
            <p:nvPr/>
          </p:nvSpPr>
          <p:spPr>
            <a:xfrm>
              <a:off x="2118920" y="1908420"/>
              <a:ext cx="274449" cy="274449"/>
            </a:xfrm>
            <a:prstGeom prst="ellipse">
              <a:avLst/>
            </a:prstGeom>
            <a:solidFill>
              <a:srgbClr val="008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/>
                  <a:ea typeface="+mn-ea"/>
                  <a:cs typeface="+mn-cs"/>
                </a:rPr>
                <a:t>1</a:t>
              </a:r>
            </a:p>
          </p:txBody>
        </p:sp>
      </p:grpSp>
      <p:sp>
        <p:nvSpPr>
          <p:cNvPr id="30" name="Oval 16">
            <a:extLst>
              <a:ext uri="{FF2B5EF4-FFF2-40B4-BE49-F238E27FC236}">
                <a16:creationId xmlns:a16="http://schemas.microsoft.com/office/drawing/2014/main" id="{DB7F9EB3-780B-1C0E-8F6A-9D9BCF55F742}"/>
              </a:ext>
            </a:extLst>
          </p:cNvPr>
          <p:cNvSpPr/>
          <p:nvPr/>
        </p:nvSpPr>
        <p:spPr>
          <a:xfrm>
            <a:off x="490418" y="2165451"/>
            <a:ext cx="274449" cy="274449"/>
          </a:xfrm>
          <a:prstGeom prst="ellipse">
            <a:avLst/>
          </a:prstGeom>
          <a:solidFill>
            <a:srgbClr val="008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2</a:t>
            </a: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CEE7D581-9AC3-F47C-AF3A-E23436F727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07433" y="1708368"/>
            <a:ext cx="3641414" cy="2416939"/>
          </a:xfrm>
          <a:prstGeom prst="rect">
            <a:avLst/>
          </a:prstGeom>
        </p:spPr>
      </p:pic>
      <p:sp>
        <p:nvSpPr>
          <p:cNvPr id="8" name="Rectangle 19">
            <a:extLst>
              <a:ext uri="{FF2B5EF4-FFF2-40B4-BE49-F238E27FC236}">
                <a16:creationId xmlns:a16="http://schemas.microsoft.com/office/drawing/2014/main" id="{51808B7C-F8C1-8295-538E-49D7971EBE23}"/>
              </a:ext>
            </a:extLst>
          </p:cNvPr>
          <p:cNvSpPr/>
          <p:nvPr/>
        </p:nvSpPr>
        <p:spPr>
          <a:xfrm>
            <a:off x="6638871" y="1667705"/>
            <a:ext cx="3776580" cy="2547243"/>
          </a:xfrm>
          <a:prstGeom prst="rect">
            <a:avLst/>
          </a:prstGeom>
          <a:noFill/>
          <a:ln w="28575" cap="flat" cmpd="sng" algn="ctr">
            <a:solidFill>
              <a:srgbClr val="339933">
                <a:alpha val="47843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9" name="Oval 20">
            <a:extLst>
              <a:ext uri="{FF2B5EF4-FFF2-40B4-BE49-F238E27FC236}">
                <a16:creationId xmlns:a16="http://schemas.microsoft.com/office/drawing/2014/main" id="{3432CF4B-5E5F-CE18-7D68-606C6112D868}"/>
              </a:ext>
            </a:extLst>
          </p:cNvPr>
          <p:cNvSpPr/>
          <p:nvPr/>
        </p:nvSpPr>
        <p:spPr>
          <a:xfrm>
            <a:off x="6530871" y="1720379"/>
            <a:ext cx="214405" cy="216000"/>
          </a:xfrm>
          <a:prstGeom prst="ellipse">
            <a:avLst/>
          </a:prstGeom>
          <a:solidFill>
            <a:srgbClr val="008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3</a:t>
            </a:r>
          </a:p>
        </p:txBody>
      </p:sp>
      <p:sp>
        <p:nvSpPr>
          <p:cNvPr id="10" name="Rectangle 19">
            <a:extLst>
              <a:ext uri="{FF2B5EF4-FFF2-40B4-BE49-F238E27FC236}">
                <a16:creationId xmlns:a16="http://schemas.microsoft.com/office/drawing/2014/main" id="{937DC6C0-298C-23A8-88FA-92E8789E7C1D}"/>
              </a:ext>
            </a:extLst>
          </p:cNvPr>
          <p:cNvSpPr/>
          <p:nvPr/>
        </p:nvSpPr>
        <p:spPr>
          <a:xfrm>
            <a:off x="6405680" y="797980"/>
            <a:ext cx="839851" cy="184563"/>
          </a:xfrm>
          <a:prstGeom prst="rect">
            <a:avLst/>
          </a:prstGeom>
          <a:noFill/>
          <a:ln w="28575" cap="flat" cmpd="sng" algn="ctr">
            <a:solidFill>
              <a:srgbClr val="339933">
                <a:alpha val="47843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2" name="Oval 20">
            <a:extLst>
              <a:ext uri="{FF2B5EF4-FFF2-40B4-BE49-F238E27FC236}">
                <a16:creationId xmlns:a16="http://schemas.microsoft.com/office/drawing/2014/main" id="{8666895E-BF97-B051-033A-256E7697A2AA}"/>
              </a:ext>
            </a:extLst>
          </p:cNvPr>
          <p:cNvSpPr/>
          <p:nvPr/>
        </p:nvSpPr>
        <p:spPr>
          <a:xfrm>
            <a:off x="6297681" y="797981"/>
            <a:ext cx="214405" cy="216000"/>
          </a:xfrm>
          <a:prstGeom prst="ellipse">
            <a:avLst/>
          </a:prstGeom>
          <a:solidFill>
            <a:srgbClr val="008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2</a:t>
            </a:r>
          </a:p>
        </p:txBody>
      </p:sp>
      <p:sp>
        <p:nvSpPr>
          <p:cNvPr id="20" name="Oval 17">
            <a:extLst>
              <a:ext uri="{FF2B5EF4-FFF2-40B4-BE49-F238E27FC236}">
                <a16:creationId xmlns:a16="http://schemas.microsoft.com/office/drawing/2014/main" id="{4FF5076A-9C30-1982-7988-0A9E467DD38C}"/>
              </a:ext>
            </a:extLst>
          </p:cNvPr>
          <p:cNvSpPr/>
          <p:nvPr/>
        </p:nvSpPr>
        <p:spPr>
          <a:xfrm>
            <a:off x="3704549" y="2405064"/>
            <a:ext cx="274449" cy="274449"/>
          </a:xfrm>
          <a:prstGeom prst="ellipse">
            <a:avLst/>
          </a:prstGeom>
          <a:solidFill>
            <a:srgbClr val="008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kern="0" dirty="0">
                <a:solidFill>
                  <a:prstClr val="white"/>
                </a:solidFill>
                <a:latin typeface="Source Sans Pro"/>
              </a:rPr>
              <a:t>3</a:t>
            </a:r>
            <a:endParaRPr kumimoji="0" lang="nl-NL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7251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>
            <a:extLst>
              <a:ext uri="{FF2B5EF4-FFF2-40B4-BE49-F238E27FC236}">
                <a16:creationId xmlns:a16="http://schemas.microsoft.com/office/drawing/2014/main" id="{A10F22DF-730C-09A1-C178-5955F2E6F6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37402" y="501413"/>
            <a:ext cx="6614964" cy="5321371"/>
          </a:xfrm>
          <a:prstGeom prst="rect">
            <a:avLst/>
          </a:prstGeom>
        </p:spPr>
      </p:pic>
      <p:sp>
        <p:nvSpPr>
          <p:cNvPr id="2" name="Segnaposto testo verticale 4">
            <a:extLst>
              <a:ext uri="{FF2B5EF4-FFF2-40B4-BE49-F238E27FC236}">
                <a16:creationId xmlns:a16="http://schemas.microsoft.com/office/drawing/2014/main" id="{40825CB5-4D9B-738E-6212-0156CE294BFF}"/>
              </a:ext>
            </a:extLst>
          </p:cNvPr>
          <p:cNvSpPr txBox="1">
            <a:spLocks/>
          </p:cNvSpPr>
          <p:nvPr/>
        </p:nvSpPr>
        <p:spPr>
          <a:xfrm>
            <a:off x="510512" y="642337"/>
            <a:ext cx="10653443" cy="3845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  <a:defRPr sz="3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17483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0070C0"/>
              </a:buClr>
              <a:buSzPct val="85000"/>
              <a:buFont typeface="Arial" panose="020B0604020202020204" pitchFamily="34" charset="0"/>
              <a:buNone/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 cap="none" spc="31" baseline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271456" indent="-271456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+mj-lt"/>
              <a:buAutoNum type="arabicPeriod"/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7483" indent="-217483" algn="l" defTabSz="914377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71476" indent="-253994" algn="l" defTabSz="914377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71912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065BAA"/>
              </a:buClr>
              <a:buSzPct val="110000"/>
              <a:buFont typeface="Segoe UI Light" panose="020B0502040204020203" pitchFamily="34" charset="0"/>
              <a:buNone/>
              <a:tabLst/>
              <a:defRPr/>
            </a:pPr>
            <a:r>
              <a:rPr kumimoji="0" lang="it-IT" sz="3000" b="0" i="0" u="none" strike="noStrike" kern="1200" cap="none" spc="0" normalizeH="0" baseline="0" noProof="0" dirty="0">
                <a:ln>
                  <a:noFill/>
                </a:ln>
                <a:solidFill>
                  <a:srgbClr val="065BAA"/>
                </a:solidFill>
                <a:effectLst/>
                <a:uLnTx/>
                <a:uFillTx/>
                <a:latin typeface="Source Sans Pro" panose="020B0503030403020204" pitchFamily="34" charset="0"/>
              </a:rPr>
              <a:t>Modifica dashboards CRM</a:t>
            </a:r>
          </a:p>
        </p:txBody>
      </p:sp>
      <p:sp>
        <p:nvSpPr>
          <p:cNvPr id="3" name="Titolo 1">
            <a:extLst>
              <a:ext uri="{FF2B5EF4-FFF2-40B4-BE49-F238E27FC236}">
                <a16:creationId xmlns:a16="http://schemas.microsoft.com/office/drawing/2014/main" id="{6C18FD20-F840-C9AF-1969-6269235008B7}"/>
              </a:ext>
            </a:extLst>
          </p:cNvPr>
          <p:cNvSpPr txBox="1">
            <a:spLocks/>
          </p:cNvSpPr>
          <p:nvPr/>
        </p:nvSpPr>
        <p:spPr>
          <a:xfrm>
            <a:off x="510512" y="255090"/>
            <a:ext cx="10653443" cy="38724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000" b="1" i="0" u="none" strike="noStrike" kern="1200" cap="none" spc="0" normalizeH="0" baseline="0" noProof="0" dirty="0">
                <a:ln>
                  <a:noFill/>
                </a:ln>
                <a:solidFill>
                  <a:srgbClr val="065BAA"/>
                </a:solidFill>
                <a:effectLst/>
                <a:uLnTx/>
                <a:uFillTx/>
                <a:latin typeface="Source Sans Pro" panose="020B0503030403020204" pitchFamily="34" charset="0"/>
              </a:rPr>
              <a:t>CRM</a:t>
            </a:r>
          </a:p>
        </p:txBody>
      </p:sp>
      <p:sp>
        <p:nvSpPr>
          <p:cNvPr id="14" name="Rectangle 19">
            <a:extLst>
              <a:ext uri="{FF2B5EF4-FFF2-40B4-BE49-F238E27FC236}">
                <a16:creationId xmlns:a16="http://schemas.microsoft.com/office/drawing/2014/main" id="{E24048DD-B9F3-ACC1-D41C-260C0C865D6E}"/>
              </a:ext>
            </a:extLst>
          </p:cNvPr>
          <p:cNvSpPr/>
          <p:nvPr/>
        </p:nvSpPr>
        <p:spPr>
          <a:xfrm>
            <a:off x="7720674" y="801779"/>
            <a:ext cx="510551" cy="233437"/>
          </a:xfrm>
          <a:prstGeom prst="rect">
            <a:avLst/>
          </a:prstGeom>
          <a:noFill/>
          <a:ln w="28575" cap="flat" cmpd="sng" algn="ctr">
            <a:solidFill>
              <a:srgbClr val="339933">
                <a:alpha val="47843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5" name="Oval 20">
            <a:extLst>
              <a:ext uri="{FF2B5EF4-FFF2-40B4-BE49-F238E27FC236}">
                <a16:creationId xmlns:a16="http://schemas.microsoft.com/office/drawing/2014/main" id="{1E15438D-1645-621A-8407-7DB369CB9FE5}"/>
              </a:ext>
            </a:extLst>
          </p:cNvPr>
          <p:cNvSpPr/>
          <p:nvPr/>
        </p:nvSpPr>
        <p:spPr>
          <a:xfrm>
            <a:off x="7612675" y="802037"/>
            <a:ext cx="214405" cy="216000"/>
          </a:xfrm>
          <a:prstGeom prst="ellipse">
            <a:avLst/>
          </a:prstGeom>
          <a:solidFill>
            <a:srgbClr val="008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kern="0" dirty="0">
                <a:solidFill>
                  <a:prstClr val="white"/>
                </a:solidFill>
                <a:latin typeface="Source Sans Pro"/>
              </a:rPr>
              <a:t>1</a:t>
            </a:r>
            <a:endParaRPr kumimoji="0" lang="nl-NL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grpSp>
        <p:nvGrpSpPr>
          <p:cNvPr id="16" name="Gruppo 15">
            <a:extLst>
              <a:ext uri="{FF2B5EF4-FFF2-40B4-BE49-F238E27FC236}">
                <a16:creationId xmlns:a16="http://schemas.microsoft.com/office/drawing/2014/main" id="{1AB0669D-697E-E6C9-2661-18DED90A9CF5}"/>
              </a:ext>
            </a:extLst>
          </p:cNvPr>
          <p:cNvGrpSpPr/>
          <p:nvPr/>
        </p:nvGrpSpPr>
        <p:grpSpPr>
          <a:xfrm>
            <a:off x="499127" y="1435919"/>
            <a:ext cx="4334130" cy="4314825"/>
            <a:chOff x="499127" y="1435919"/>
            <a:chExt cx="4334130" cy="4314825"/>
          </a:xfrm>
        </p:grpSpPr>
        <p:sp>
          <p:nvSpPr>
            <p:cNvPr id="17" name="Text Placeholder 4">
              <a:extLst>
                <a:ext uri="{FF2B5EF4-FFF2-40B4-BE49-F238E27FC236}">
                  <a16:creationId xmlns:a16="http://schemas.microsoft.com/office/drawing/2014/main" id="{A14DA3D8-9B88-7798-70DA-087C73692D8C}"/>
                </a:ext>
              </a:extLst>
            </p:cNvPr>
            <p:cNvSpPr txBox="1">
              <a:spLocks/>
            </p:cNvSpPr>
            <p:nvPr/>
          </p:nvSpPr>
          <p:spPr>
            <a:xfrm>
              <a:off x="499127" y="1435919"/>
              <a:ext cx="4334130" cy="4314825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217488" indent="-217488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10000"/>
                <a:buFont typeface="Segoe UI Light" panose="020B0502040204020203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1488" indent="-254000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  <a:defRPr sz="160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070C0"/>
                </a:buClr>
                <a:buSzPct val="85000"/>
                <a:buFont typeface="Arial" panose="020B0604020202020204" pitchFamily="34" charset="0"/>
                <a:buNone/>
                <a:defRPr sz="160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600" b="1" kern="1200" cap="none" spc="30" baseline="0">
                  <a:solidFill>
                    <a:schemeClr val="tx1"/>
                  </a:solidFill>
                  <a:latin typeface="+mj-lt"/>
                  <a:ea typeface="+mn-ea"/>
                  <a:cs typeface="Calibri" panose="020F0502020204030204" pitchFamily="34" charset="0"/>
                </a:defRPr>
              </a:lvl4pPr>
              <a:lvl5pPr marL="271463" indent="-271463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Font typeface="+mj-lt"/>
                <a:buAutoNum type="arabicPeriod"/>
                <a:defRPr sz="160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7488" indent="-2174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10000"/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71488" indent="-2540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b="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9pPr>
            </a:lstStyle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r>
                <a:rPr kumimoji="0" lang="it-IT" b="0" i="0" u="none" strike="noStrike" kern="120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ource Sans Pro" panose="020B0503030403020204" pitchFamily="34" charset="0"/>
                  <a:cs typeface="Calibri" panose="020F0502020204030204" pitchFamily="34" charset="0"/>
                </a:rPr>
                <a:t>Quando la nuova vista è salvata, cliccando su «Modifica» (1) si aprirà la finestra di modifica Power Apps in cui sarà possibile modificare le viste visualizzate nella dashboard. </a:t>
              </a:r>
              <a:endParaRPr lang="it-IT" dirty="0">
                <a:solidFill>
                  <a:sysClr val="windowText" lastClr="000000"/>
                </a:solidFill>
                <a:latin typeface="Source Sans Pro" panose="020B0503030403020204" pitchFamily="34" charset="0"/>
                <a:cs typeface="Calibri" panose="020F0502020204030204" pitchFamily="34" charset="0"/>
              </a:endParaRPr>
            </a:p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endParaRPr kumimoji="0" lang="it-IT" b="0" i="0" u="none" strike="noStrike" kern="120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ource Sans Pro" panose="020B0503030403020204" pitchFamily="34" charset="0"/>
                <a:cs typeface="Calibri" panose="020F0502020204030204" pitchFamily="34" charset="0"/>
              </a:endParaRPr>
            </a:p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endParaRPr kumimoji="0" lang="it-IT" b="0" i="0" u="none" strike="noStrike" kern="120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ource Sans Pro" panose="020B050303040302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" name="Oval 17">
              <a:extLst>
                <a:ext uri="{FF2B5EF4-FFF2-40B4-BE49-F238E27FC236}">
                  <a16:creationId xmlns:a16="http://schemas.microsoft.com/office/drawing/2014/main" id="{CAF4F50A-2C22-61E5-43FA-CDB24A61D2F6}"/>
                </a:ext>
              </a:extLst>
            </p:cNvPr>
            <p:cNvSpPr/>
            <p:nvPr/>
          </p:nvSpPr>
          <p:spPr>
            <a:xfrm>
              <a:off x="1413526" y="1683205"/>
              <a:ext cx="274449" cy="274449"/>
            </a:xfrm>
            <a:prstGeom prst="ellipse">
              <a:avLst/>
            </a:prstGeom>
            <a:solidFill>
              <a:srgbClr val="008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/>
                  <a:ea typeface="+mn-ea"/>
                  <a:cs typeface="+mn-cs"/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574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magine 10">
            <a:extLst>
              <a:ext uri="{FF2B5EF4-FFF2-40B4-BE49-F238E27FC236}">
                <a16:creationId xmlns:a16="http://schemas.microsoft.com/office/drawing/2014/main" id="{51E15107-61B9-BA5B-7004-98776B19BD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03914" y="501413"/>
            <a:ext cx="6648452" cy="5420818"/>
          </a:xfrm>
          <a:prstGeom prst="rect">
            <a:avLst/>
          </a:prstGeom>
        </p:spPr>
      </p:pic>
      <p:sp>
        <p:nvSpPr>
          <p:cNvPr id="2" name="Segnaposto testo verticale 4">
            <a:extLst>
              <a:ext uri="{FF2B5EF4-FFF2-40B4-BE49-F238E27FC236}">
                <a16:creationId xmlns:a16="http://schemas.microsoft.com/office/drawing/2014/main" id="{40825CB5-4D9B-738E-6212-0156CE294BFF}"/>
              </a:ext>
            </a:extLst>
          </p:cNvPr>
          <p:cNvSpPr txBox="1">
            <a:spLocks/>
          </p:cNvSpPr>
          <p:nvPr/>
        </p:nvSpPr>
        <p:spPr>
          <a:xfrm>
            <a:off x="510512" y="642337"/>
            <a:ext cx="10653443" cy="3845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Segoe UI Light" panose="020B0502040204020203" pitchFamily="34" charset="0"/>
              <a:buNone/>
              <a:defRPr sz="3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17483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0070C0"/>
              </a:buClr>
              <a:buSzPct val="85000"/>
              <a:buFont typeface="Arial" panose="020B0604020202020204" pitchFamily="34" charset="0"/>
              <a:buNone/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 cap="none" spc="31" baseline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271456" indent="-271456" algn="l" defTabSz="719121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+mj-lt"/>
              <a:buAutoNum type="arabicPeriod"/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7483" indent="-217483" algn="l" defTabSz="914377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71476" indent="-253994" algn="l" defTabSz="914377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71912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065BAA"/>
              </a:buClr>
              <a:buSzPct val="110000"/>
              <a:buFont typeface="Segoe UI Light" panose="020B0502040204020203" pitchFamily="34" charset="0"/>
              <a:buNone/>
              <a:tabLst/>
              <a:defRPr/>
            </a:pPr>
            <a:r>
              <a:rPr kumimoji="0" lang="it-IT" sz="3000" b="0" i="0" u="none" strike="noStrike" kern="1200" cap="none" spc="0" normalizeH="0" baseline="0" noProof="0" dirty="0">
                <a:ln>
                  <a:noFill/>
                </a:ln>
                <a:solidFill>
                  <a:srgbClr val="065BAA"/>
                </a:solidFill>
                <a:effectLst/>
                <a:uLnTx/>
                <a:uFillTx/>
                <a:latin typeface="Source Sans Pro" panose="020B0503030403020204" pitchFamily="34" charset="0"/>
              </a:rPr>
              <a:t>Nuova dashboard Power BI </a:t>
            </a:r>
          </a:p>
        </p:txBody>
      </p:sp>
      <p:sp>
        <p:nvSpPr>
          <p:cNvPr id="3" name="Titolo 1">
            <a:extLst>
              <a:ext uri="{FF2B5EF4-FFF2-40B4-BE49-F238E27FC236}">
                <a16:creationId xmlns:a16="http://schemas.microsoft.com/office/drawing/2014/main" id="{6C18FD20-F840-C9AF-1969-6269235008B7}"/>
              </a:ext>
            </a:extLst>
          </p:cNvPr>
          <p:cNvSpPr txBox="1">
            <a:spLocks/>
          </p:cNvSpPr>
          <p:nvPr/>
        </p:nvSpPr>
        <p:spPr>
          <a:xfrm>
            <a:off x="510512" y="255090"/>
            <a:ext cx="10653443" cy="38724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000" b="1" i="0" u="none" strike="noStrike" kern="1200" cap="none" spc="0" normalizeH="0" baseline="0" noProof="0" dirty="0">
                <a:ln>
                  <a:noFill/>
                </a:ln>
                <a:solidFill>
                  <a:srgbClr val="065BAA"/>
                </a:solidFill>
                <a:effectLst/>
                <a:uLnTx/>
                <a:uFillTx/>
                <a:latin typeface="Source Sans Pro" panose="020B0503030403020204" pitchFamily="34" charset="0"/>
              </a:rPr>
              <a:t>CRM</a:t>
            </a:r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1A10B4FF-A519-528D-782F-F7DFD7E14CA1}"/>
              </a:ext>
            </a:extLst>
          </p:cNvPr>
          <p:cNvSpPr/>
          <p:nvPr/>
        </p:nvSpPr>
        <p:spPr>
          <a:xfrm>
            <a:off x="6096000" y="1960811"/>
            <a:ext cx="5329645" cy="3273039"/>
          </a:xfrm>
          <a:prstGeom prst="rect">
            <a:avLst/>
          </a:prstGeom>
          <a:noFill/>
          <a:ln w="28575" cap="flat" cmpd="sng" algn="ctr">
            <a:solidFill>
              <a:srgbClr val="339933">
                <a:alpha val="47843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4" name="Rectangle 19">
            <a:extLst>
              <a:ext uri="{FF2B5EF4-FFF2-40B4-BE49-F238E27FC236}">
                <a16:creationId xmlns:a16="http://schemas.microsoft.com/office/drawing/2014/main" id="{E24048DD-B9F3-ACC1-D41C-260C0C865D6E}"/>
              </a:ext>
            </a:extLst>
          </p:cNvPr>
          <p:cNvSpPr/>
          <p:nvPr/>
        </p:nvSpPr>
        <p:spPr>
          <a:xfrm>
            <a:off x="7123690" y="741344"/>
            <a:ext cx="679190" cy="321346"/>
          </a:xfrm>
          <a:prstGeom prst="rect">
            <a:avLst/>
          </a:prstGeom>
          <a:noFill/>
          <a:ln w="28575" cap="flat" cmpd="sng" algn="ctr">
            <a:solidFill>
              <a:srgbClr val="339933">
                <a:alpha val="47843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5" name="Oval 20">
            <a:extLst>
              <a:ext uri="{FF2B5EF4-FFF2-40B4-BE49-F238E27FC236}">
                <a16:creationId xmlns:a16="http://schemas.microsoft.com/office/drawing/2014/main" id="{1E15438D-1645-621A-8407-7DB369CB9FE5}"/>
              </a:ext>
            </a:extLst>
          </p:cNvPr>
          <p:cNvSpPr/>
          <p:nvPr/>
        </p:nvSpPr>
        <p:spPr>
          <a:xfrm>
            <a:off x="7015690" y="794017"/>
            <a:ext cx="214405" cy="216000"/>
          </a:xfrm>
          <a:prstGeom prst="ellipse">
            <a:avLst/>
          </a:prstGeom>
          <a:solidFill>
            <a:srgbClr val="008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kern="0" dirty="0">
                <a:solidFill>
                  <a:prstClr val="white"/>
                </a:solidFill>
                <a:latin typeface="Source Sans Pro"/>
              </a:rPr>
              <a:t>1</a:t>
            </a:r>
            <a:endParaRPr kumimoji="0" lang="nl-NL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grpSp>
        <p:nvGrpSpPr>
          <p:cNvPr id="16" name="Gruppo 15">
            <a:extLst>
              <a:ext uri="{FF2B5EF4-FFF2-40B4-BE49-F238E27FC236}">
                <a16:creationId xmlns:a16="http://schemas.microsoft.com/office/drawing/2014/main" id="{1AB0669D-697E-E6C9-2661-18DED90A9CF5}"/>
              </a:ext>
            </a:extLst>
          </p:cNvPr>
          <p:cNvGrpSpPr/>
          <p:nvPr/>
        </p:nvGrpSpPr>
        <p:grpSpPr>
          <a:xfrm>
            <a:off x="499127" y="1435919"/>
            <a:ext cx="4334130" cy="4314825"/>
            <a:chOff x="499127" y="1435919"/>
            <a:chExt cx="4334130" cy="4314825"/>
          </a:xfrm>
        </p:grpSpPr>
        <p:sp>
          <p:nvSpPr>
            <p:cNvPr id="17" name="Text Placeholder 4">
              <a:extLst>
                <a:ext uri="{FF2B5EF4-FFF2-40B4-BE49-F238E27FC236}">
                  <a16:creationId xmlns:a16="http://schemas.microsoft.com/office/drawing/2014/main" id="{A14DA3D8-9B88-7798-70DA-087C73692D8C}"/>
                </a:ext>
              </a:extLst>
            </p:cNvPr>
            <p:cNvSpPr txBox="1">
              <a:spLocks/>
            </p:cNvSpPr>
            <p:nvPr/>
          </p:nvSpPr>
          <p:spPr>
            <a:xfrm>
              <a:off x="499127" y="1435919"/>
              <a:ext cx="4334130" cy="4314825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217488" indent="-217488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10000"/>
                <a:buFont typeface="Segoe UI Light" panose="020B0502040204020203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71488" indent="-254000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  <a:defRPr sz="160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070C0"/>
                </a:buClr>
                <a:buSzPct val="85000"/>
                <a:buFont typeface="Arial" panose="020B0604020202020204" pitchFamily="34" charset="0"/>
                <a:buNone/>
                <a:defRPr sz="160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600" b="1" kern="1200" cap="none" spc="30" baseline="0">
                  <a:solidFill>
                    <a:schemeClr val="tx1"/>
                  </a:solidFill>
                  <a:latin typeface="+mj-lt"/>
                  <a:ea typeface="+mn-ea"/>
                  <a:cs typeface="Calibri" panose="020F0502020204030204" pitchFamily="34" charset="0"/>
                </a:defRPr>
              </a:lvl4pPr>
              <a:lvl5pPr marL="271463" indent="-271463" algn="l" defTabSz="719138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Font typeface="+mj-lt"/>
                <a:buAutoNum type="arabicPeriod"/>
                <a:defRPr sz="160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7488" indent="-217488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10000"/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71488" indent="-254000" algn="l" defTabSz="914400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b="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9pPr>
            </a:lstStyle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r>
                <a:rPr kumimoji="0" lang="it-IT" b="0" i="0" u="none" strike="noStrike" kern="120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ource Sans Pro" panose="020B0503030403020204" pitchFamily="34" charset="0"/>
                  <a:cs typeface="Calibri" panose="020F0502020204030204" pitchFamily="34" charset="0"/>
                </a:rPr>
                <a:t>Per creare una nuova dashboard che </a:t>
              </a:r>
              <a:r>
                <a:rPr lang="it-IT" dirty="0">
                  <a:solidFill>
                    <a:sysClr val="windowText" lastClr="000000"/>
                  </a:solidFill>
                  <a:latin typeface="Source Sans Pro" panose="020B0503030403020204" pitchFamily="34" charset="0"/>
                  <a:cs typeface="Calibri" panose="020F0502020204030204" pitchFamily="34" charset="0"/>
                </a:rPr>
                <a:t>visualizzi un </a:t>
              </a:r>
              <a:r>
                <a:rPr lang="it-IT" b="1" dirty="0">
                  <a:solidFill>
                    <a:sysClr val="windowText" lastClr="000000"/>
                  </a:solidFill>
                  <a:latin typeface="Source Sans Pro" panose="020B0503030403020204" pitchFamily="34" charset="0"/>
                  <a:cs typeface="Calibri" panose="020F0502020204030204" pitchFamily="34" charset="0"/>
                </a:rPr>
                <a:t>report Power BI </a:t>
              </a:r>
              <a:r>
                <a:rPr lang="it-IT" dirty="0">
                  <a:solidFill>
                    <a:sysClr val="windowText" lastClr="000000"/>
                  </a:solidFill>
                  <a:latin typeface="Source Sans Pro" panose="020B0503030403020204" pitchFamily="34" charset="0"/>
                  <a:cs typeface="Calibri" panose="020F0502020204030204" pitchFamily="34" charset="0"/>
                </a:rPr>
                <a:t>esistente </a:t>
              </a:r>
              <a:r>
                <a:rPr kumimoji="0" lang="it-IT" b="0" i="0" u="none" strike="noStrike" kern="120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ource Sans Pro" panose="020B0503030403020204" pitchFamily="34" charset="0"/>
                  <a:cs typeface="Calibri" panose="020F0502020204030204" pitchFamily="34" charset="0"/>
                </a:rPr>
                <a:t>selezionare </a:t>
              </a:r>
              <a:r>
                <a:rPr kumimoji="0" lang="it-IT" b="1" i="0" u="none" strike="noStrike" kern="120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ource Sans Pro" panose="020B0503030403020204" pitchFamily="34" charset="0"/>
                  <a:cs typeface="Calibri" panose="020F0502020204030204" pitchFamily="34" charset="0"/>
                </a:rPr>
                <a:t>«+NEW» </a:t>
              </a:r>
              <a:r>
                <a:rPr kumimoji="0" lang="it-IT" b="0" i="0" u="none" strike="noStrike" kern="120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Source Sans Pro" panose="020B0503030403020204" pitchFamily="34" charset="0"/>
                  <a:cs typeface="Calibri" panose="020F0502020204030204" pitchFamily="34" charset="0"/>
                </a:rPr>
                <a:t>(1)</a:t>
              </a:r>
              <a:r>
                <a:rPr lang="it-IT" dirty="0">
                  <a:solidFill>
                    <a:sysClr val="windowText" lastClr="000000"/>
                  </a:solidFill>
                  <a:latin typeface="Source Sans Pro" panose="020B0503030403020204" pitchFamily="34" charset="0"/>
                  <a:cs typeface="Calibri" panose="020F0502020204030204" pitchFamily="34" charset="0"/>
                </a:rPr>
                <a:t> e selezionare </a:t>
              </a:r>
              <a:r>
                <a:rPr lang="it-IT" b="1" dirty="0">
                  <a:solidFill>
                    <a:sysClr val="windowText" lastClr="000000"/>
                  </a:solidFill>
                  <a:latin typeface="Source Sans Pro" panose="020B0503030403020204" pitchFamily="34" charset="0"/>
                  <a:cs typeface="Calibri" panose="020F0502020204030204" pitchFamily="34" charset="0"/>
                </a:rPr>
                <a:t>Dynamics 365 Dashboard. </a:t>
              </a:r>
              <a:r>
                <a:rPr lang="it-IT" dirty="0">
                  <a:solidFill>
                    <a:sysClr val="windowText" lastClr="000000"/>
                  </a:solidFill>
                  <a:latin typeface="Source Sans Pro" panose="020B0503030403020204" pitchFamily="34" charset="0"/>
                  <a:cs typeface="Calibri" panose="020F0502020204030204" pitchFamily="34" charset="0"/>
                </a:rPr>
                <a:t>Comparirà una finestra dove si potrà scegliere il report da visualizzare (2) .</a:t>
              </a:r>
            </a:p>
            <a:p>
              <a:pPr marL="0" marR="0" lvl="0" indent="0" algn="l" defTabSz="71913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>
                  <a:srgbClr val="065BAA"/>
                </a:buClr>
                <a:buSzPct val="110000"/>
                <a:buFont typeface="Segoe UI Light" panose="020B0502040204020203" pitchFamily="34" charset="0"/>
                <a:buNone/>
                <a:tabLst/>
                <a:defRPr/>
              </a:pPr>
              <a:endParaRPr kumimoji="0" lang="it-IT" b="0" i="0" u="none" strike="noStrike" kern="120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ource Sans Pro" panose="020B050303040302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" name="Oval 17">
              <a:extLst>
                <a:ext uri="{FF2B5EF4-FFF2-40B4-BE49-F238E27FC236}">
                  <a16:creationId xmlns:a16="http://schemas.microsoft.com/office/drawing/2014/main" id="{CAF4F50A-2C22-61E5-43FA-CDB24A61D2F6}"/>
                </a:ext>
              </a:extLst>
            </p:cNvPr>
            <p:cNvSpPr/>
            <p:nvPr/>
          </p:nvSpPr>
          <p:spPr>
            <a:xfrm>
              <a:off x="4520162" y="1652655"/>
              <a:ext cx="274449" cy="274449"/>
            </a:xfrm>
            <a:prstGeom prst="ellipse">
              <a:avLst/>
            </a:prstGeom>
            <a:solidFill>
              <a:srgbClr val="008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/>
                  <a:ea typeface="+mn-ea"/>
                  <a:cs typeface="+mn-cs"/>
                </a:rPr>
                <a:t>1</a:t>
              </a:r>
            </a:p>
          </p:txBody>
        </p:sp>
      </p:grpSp>
      <p:sp>
        <p:nvSpPr>
          <p:cNvPr id="30" name="Oval 16">
            <a:extLst>
              <a:ext uri="{FF2B5EF4-FFF2-40B4-BE49-F238E27FC236}">
                <a16:creationId xmlns:a16="http://schemas.microsoft.com/office/drawing/2014/main" id="{DB7F9EB3-780B-1C0E-8F6A-9D9BCF55F742}"/>
              </a:ext>
            </a:extLst>
          </p:cNvPr>
          <p:cNvSpPr/>
          <p:nvPr/>
        </p:nvSpPr>
        <p:spPr>
          <a:xfrm>
            <a:off x="2348198" y="2409579"/>
            <a:ext cx="274449" cy="274449"/>
          </a:xfrm>
          <a:prstGeom prst="ellipse">
            <a:avLst/>
          </a:prstGeom>
          <a:solidFill>
            <a:srgbClr val="008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2</a:t>
            </a: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5288DD8D-3155-A101-5EB6-9BD7FDBBBB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52726" y="1985040"/>
            <a:ext cx="5256167" cy="3216581"/>
          </a:xfrm>
          <a:prstGeom prst="rect">
            <a:avLst/>
          </a:prstGeom>
        </p:spPr>
      </p:pic>
      <p:sp>
        <p:nvSpPr>
          <p:cNvPr id="7" name="Oval 7">
            <a:extLst>
              <a:ext uri="{FF2B5EF4-FFF2-40B4-BE49-F238E27FC236}">
                <a16:creationId xmlns:a16="http://schemas.microsoft.com/office/drawing/2014/main" id="{090C1CAE-E640-AF5E-658E-7302AF2B8171}"/>
              </a:ext>
            </a:extLst>
          </p:cNvPr>
          <p:cNvSpPr/>
          <p:nvPr/>
        </p:nvSpPr>
        <p:spPr>
          <a:xfrm>
            <a:off x="6135974" y="1993735"/>
            <a:ext cx="216000" cy="216000"/>
          </a:xfrm>
          <a:prstGeom prst="ellipse">
            <a:avLst/>
          </a:prstGeom>
          <a:solidFill>
            <a:srgbClr val="008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038443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rHjKUkrhQCC.1HJ5w9g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8DeOI0BQooyobQmTE6W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H4PQ8xz2ElsjpJvcyb8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7QZ.bmzvSj9E1knBvVm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NWR.VTOAw6tunKhwwD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hzdD13P6C9Vypxg64u5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QGIrwfhKCiQV87M2Pq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_rtY40ZoWNFq6D8.GKx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hEldfxhj4sZcKHC6Kly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kAjY7J_CionnMejiLMt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SWS0rChmgFifVC7aMJ0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xg0XwHMkEI9JvzhcTYI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CtR1d2Rz.7wUUd6bUt5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0s4uD7NGVPsW.MNO3Ci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mrRX_wPcdT_Rx5Cv9aM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4SNaEfG4rE8n4Q_7eNs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218Gv2JKn6JPIWS_J_g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c1ZotvSEovWUaoMrUbz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_o47SMiyHm_KAGwhnZt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7NLVFtDRXG2tRrXqvQS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KhYYVbXA3oTpUL2pz44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7mEJDQ9_rkkiRFXhbI_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kHXUAHU3htkyli5Kp1V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qOzILa7_eW7sCWk3NoD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y2NxfdEuH_FbA0IzMUH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Qn4J70PTD0gqSgHG9Ri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XnPzukSfJxlLSDp0JkW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qU0Sdornb6aJjiBS2vj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o9XJshZC3rmRE_VnhhW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H.uMyVKNBCyFmV5yxD1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RshY0tP_rTcptjGsv1F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BAAPlWjLDMosck7a5qZ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y.CYiNP5TrC3orAjh7.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LBUfofQjiPMWBYlib.q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OK5rORWlsGFgIFJFJPLg"/>
</p:tagLst>
</file>

<file path=ppt/theme/theme1.xml><?xml version="1.0" encoding="utf-8"?>
<a:theme xmlns:a="http://schemas.openxmlformats.org/drawingml/2006/main" name="4_BDR">
  <a:themeElements>
    <a:clrScheme name="BDR">
      <a:dk1>
        <a:sysClr val="windowText" lastClr="000000"/>
      </a:dk1>
      <a:lt1>
        <a:sysClr val="window" lastClr="FFFFFF"/>
      </a:lt1>
      <a:dk2>
        <a:srgbClr val="191238"/>
      </a:dk2>
      <a:lt2>
        <a:srgbClr val="EFECEA"/>
      </a:lt2>
      <a:accent1>
        <a:srgbClr val="191238"/>
      </a:accent1>
      <a:accent2>
        <a:srgbClr val="065BAA"/>
      </a:accent2>
      <a:accent3>
        <a:srgbClr val="6C6798"/>
      </a:accent3>
      <a:accent4>
        <a:srgbClr val="75C7E9"/>
      </a:accent4>
      <a:accent5>
        <a:srgbClr val="08B89D"/>
      </a:accent5>
      <a:accent6>
        <a:srgbClr val="FFCB05"/>
      </a:accent6>
      <a:hlink>
        <a:srgbClr val="065BAA"/>
      </a:hlink>
      <a:folHlink>
        <a:srgbClr val="6C6798"/>
      </a:folHlink>
    </a:clrScheme>
    <a:fontScheme name="BDR">
      <a:majorFont>
        <a:latin typeface="Source Sans Pro"/>
        <a:ea typeface=""/>
        <a:cs typeface=""/>
      </a:majorFont>
      <a:minorFont>
        <a:latin typeface="Source Sans Pro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25BD4A04-057D-4811-B0FB-8AEED19D5A49}" vid="{1560E9D3-A79F-4761-B6BB-8C954EA05302}"/>
    </a:ext>
  </a:extLst>
</a:theme>
</file>

<file path=ppt/theme/theme2.xml><?xml version="1.0" encoding="utf-8"?>
<a:theme xmlns:a="http://schemas.openxmlformats.org/drawingml/2006/main" name="Struttura predefinita">
  <a:themeElements>
    <a:clrScheme name="Struttura predefinita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Struttura predefinita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charset="0"/>
          </a:defRPr>
        </a:defPPr>
      </a:lstStyle>
    </a:lnDef>
  </a:objectDefaults>
  <a:extraClrSchemeLst>
    <a:extraClrScheme>
      <a:clrScheme name="Struttura predefinita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uttura predefinita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ttura predefinita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ttura predefinita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ttura predefinita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ttura predefinita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ttura predefinita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4_BDR">
  <a:themeElements>
    <a:clrScheme name="BDR">
      <a:dk1>
        <a:sysClr val="windowText" lastClr="000000"/>
      </a:dk1>
      <a:lt1>
        <a:sysClr val="window" lastClr="FFFFFF"/>
      </a:lt1>
      <a:dk2>
        <a:srgbClr val="191238"/>
      </a:dk2>
      <a:lt2>
        <a:srgbClr val="EFECEA"/>
      </a:lt2>
      <a:accent1>
        <a:srgbClr val="191238"/>
      </a:accent1>
      <a:accent2>
        <a:srgbClr val="065BAA"/>
      </a:accent2>
      <a:accent3>
        <a:srgbClr val="6C6798"/>
      </a:accent3>
      <a:accent4>
        <a:srgbClr val="75C7E9"/>
      </a:accent4>
      <a:accent5>
        <a:srgbClr val="08B89D"/>
      </a:accent5>
      <a:accent6>
        <a:srgbClr val="FFCB05"/>
      </a:accent6>
      <a:hlink>
        <a:srgbClr val="065BAA"/>
      </a:hlink>
      <a:folHlink>
        <a:srgbClr val="6C6798"/>
      </a:folHlink>
    </a:clrScheme>
    <a:fontScheme name="BDR">
      <a:majorFont>
        <a:latin typeface="Source Sans Pro"/>
        <a:ea typeface=""/>
        <a:cs typeface=""/>
      </a:majorFont>
      <a:minorFont>
        <a:latin typeface="Source Sans Pro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 template - - POTX June" id="{E57402F1-F5A9-45C5-950E-5D4D6E2F6D15}" vid="{92C84E83-4EB4-4EB3-B4F5-595D2DA452F4}"/>
    </a:ext>
  </a:extLst>
</a:theme>
</file>

<file path=ppt/theme/theme4.xml><?xml version="1.0" encoding="utf-8"?>
<a:theme xmlns:a="http://schemas.openxmlformats.org/drawingml/2006/main" name="2_Personalizza struttur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526</TotalTime>
  <Words>957</Words>
  <Application>Microsoft Office PowerPoint</Application>
  <PresentationFormat>Widescreen</PresentationFormat>
  <Paragraphs>148</Paragraphs>
  <Slides>18</Slides>
  <Notes>1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8</vt:i4>
      </vt:variant>
      <vt:variant>
        <vt:lpstr>Tema</vt:lpstr>
      </vt:variant>
      <vt:variant>
        <vt:i4>4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8</vt:i4>
      </vt:variant>
    </vt:vector>
  </HeadingPairs>
  <TitlesOfParts>
    <vt:vector size="31" baseType="lpstr">
      <vt:lpstr>Arial</vt:lpstr>
      <vt:lpstr>Calibri</vt:lpstr>
      <vt:lpstr>Segoe UI Light</vt:lpstr>
      <vt:lpstr>Source Sans Pro</vt:lpstr>
      <vt:lpstr>TeleGrotesk Next</vt:lpstr>
      <vt:lpstr>Times New Roman</vt:lpstr>
      <vt:lpstr>Trebuchet MS</vt:lpstr>
      <vt:lpstr>VW Head Office</vt:lpstr>
      <vt:lpstr>4_BDR</vt:lpstr>
      <vt:lpstr>Struttura predefinita</vt:lpstr>
      <vt:lpstr>14_BDR</vt:lpstr>
      <vt:lpstr>2_Personalizza struttura</vt:lpstr>
      <vt:lpstr>think-cell Foli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Giulia Coldebella</dc:creator>
  <cp:lastModifiedBy>Giulia Coldebella</cp:lastModifiedBy>
  <cp:revision>75</cp:revision>
  <cp:lastPrinted>2022-10-24T06:56:40Z</cp:lastPrinted>
  <dcterms:created xsi:type="dcterms:W3CDTF">2022-10-18T09:08:20Z</dcterms:created>
  <dcterms:modified xsi:type="dcterms:W3CDTF">2022-12-01T17:11:55Z</dcterms:modified>
</cp:coreProperties>
</file>